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1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2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3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4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7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8.xml" ContentType="application/vnd.openxmlformats-officedocument.presentationml.tags+xml"/>
  <Override PartName="/ppt/tags/tag126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5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6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7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22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23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6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7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8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9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33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6.xml" ContentType="application/vnd.openxmlformats-officedocument.presentationml.tags+xml"/>
  <Override PartName="/ppt/tags/tag90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80" r:id="rId2"/>
    <p:sldMasterId id="2147483705" r:id="rId3"/>
  </p:sldMasterIdLst>
  <p:notesMasterIdLst>
    <p:notesMasterId r:id="rId31"/>
  </p:notesMasterIdLst>
  <p:sldIdLst>
    <p:sldId id="7125" r:id="rId4"/>
    <p:sldId id="7126" r:id="rId5"/>
    <p:sldId id="6546" r:id="rId6"/>
    <p:sldId id="7127" r:id="rId7"/>
    <p:sldId id="7128" r:id="rId8"/>
    <p:sldId id="7105" r:id="rId9"/>
    <p:sldId id="7130" r:id="rId10"/>
    <p:sldId id="7131" r:id="rId11"/>
    <p:sldId id="7132" r:id="rId12"/>
    <p:sldId id="7133" r:id="rId13"/>
    <p:sldId id="7134" r:id="rId14"/>
    <p:sldId id="7135" r:id="rId15"/>
    <p:sldId id="7136" r:id="rId16"/>
    <p:sldId id="7150" r:id="rId17"/>
    <p:sldId id="7137" r:id="rId18"/>
    <p:sldId id="7138" r:id="rId19"/>
    <p:sldId id="7139" r:id="rId20"/>
    <p:sldId id="7140" r:id="rId21"/>
    <p:sldId id="7141" r:id="rId22"/>
    <p:sldId id="7142" r:id="rId23"/>
    <p:sldId id="7143" r:id="rId24"/>
    <p:sldId id="7144" r:id="rId25"/>
    <p:sldId id="7145" r:id="rId26"/>
    <p:sldId id="7148" r:id="rId27"/>
    <p:sldId id="7146" r:id="rId28"/>
    <p:sldId id="7149" r:id="rId29"/>
    <p:sldId id="7147" r:id="rId30"/>
  </p:sldIdLst>
  <p:sldSz cx="9144000" cy="5143500" type="screen16x9"/>
  <p:notesSz cx="6742113" cy="9872663"/>
  <p:custDataLst>
    <p:tags r:id="rId3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70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39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08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879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348" algn="l" defTabSz="93293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17" algn="l" defTabSz="93293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286" algn="l" defTabSz="93293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756" algn="l" defTabSz="932939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2F6"/>
    <a:srgbClr val="E3F2F3"/>
    <a:srgbClr val="506E78"/>
    <a:srgbClr val="BFBFBF"/>
    <a:srgbClr val="FF0066"/>
    <a:srgbClr val="808080"/>
    <a:srgbClr val="CCCCFF"/>
    <a:srgbClr val="FFCCCC"/>
    <a:srgbClr val="FFFFCC"/>
    <a:srgbClr val="FF99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59" autoAdjust="0"/>
    <p:restoredTop sz="95268" autoAdjust="0"/>
  </p:normalViewPr>
  <p:slideViewPr>
    <p:cSldViewPr snapToGrid="0">
      <p:cViewPr varScale="1">
        <p:scale>
          <a:sx n="96" d="100"/>
          <a:sy n="96" d="100"/>
        </p:scale>
        <p:origin x="72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ustomXml" Target="../customXml/item2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customXml" Target="../customXml/item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40" Type="http://schemas.openxmlformats.org/officeDocument/2006/relationships/customXml" Target="../customXml/item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commentAuthors" Target="commentAuthors.xml"/><Relationship Id="rId38" Type="http://schemas.openxmlformats.org/officeDocument/2006/relationships/customXml" Target="../customXml/item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042019-AABC-4509-8254-6BF8B3715BB1}" type="datetimeFigureOut">
              <a:rPr lang="de-DE" smtClean="0"/>
              <a:t>07.02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220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D712BD-9963-43A2-A2DE-072F97970DB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50293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96900" y="1055688"/>
            <a:ext cx="5068888" cy="2851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89157" y="4666797"/>
            <a:ext cx="3042856" cy="20214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630479">
              <a:defRPr/>
            </a:pPr>
            <a:fld id="{3C3A632B-FBDE-46D4-BF6F-6D14421E6342}" type="slidenum">
              <a:rPr lang="de-DE" sz="800">
                <a:solidFill>
                  <a:prstClr val="black"/>
                </a:solidFill>
              </a:rPr>
              <a:pPr defTabSz="630479">
                <a:defRPr/>
              </a:pPr>
              <a:t>1</a:t>
            </a:fld>
            <a:endParaRPr lang="de-DE" sz="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9169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712BD-9963-43A2-A2DE-072F97970DB1}" type="slidenum">
              <a:rPr lang="de-DE" smtClean="0"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28818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712BD-9963-43A2-A2DE-072F97970DB1}" type="slidenum">
              <a:rPr lang="de-DE" smtClean="0"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42360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712BD-9963-43A2-A2DE-072F97970DB1}" type="slidenum">
              <a:rPr lang="de-DE" smtClean="0"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96142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712BD-9963-43A2-A2DE-072F97970DB1}" type="slidenum">
              <a:rPr lang="de-DE" smtClean="0"/>
              <a:t>1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57147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712BD-9963-43A2-A2DE-072F97970DB1}" type="slidenum">
              <a:rPr lang="de-DE" smtClean="0"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58775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D712BD-9963-43A2-A2DE-072F97970DB1}" type="slidenum">
              <a:rPr lang="de-DE" smtClean="0"/>
              <a:t>2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0697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Relationship Id="rId4" Type="http://schemas.openxmlformats.org/officeDocument/2006/relationships/image" Target="../media/image2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5.xml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6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941296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ocument type" hidden="1"/>
          <p:cNvSpPr txBox="1">
            <a:spLocks noChangeArrowheads="1"/>
          </p:cNvSpPr>
          <p:nvPr/>
        </p:nvSpPr>
        <p:spPr bwMode="gray">
          <a:xfrm>
            <a:off x="975445" y="4102300"/>
            <a:ext cx="4945512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200" baseline="0" noProof="0" dirty="0">
                <a:latin typeface="+mn-lt"/>
              </a:rPr>
              <a:t>Dokument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gray">
          <a:xfrm>
            <a:off x="975445" y="4327042"/>
            <a:ext cx="4945512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200" baseline="0" noProof="0" dirty="0">
                <a:latin typeface="+mn-lt"/>
              </a:rPr>
              <a:t>Ort, Datum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975445" y="2064694"/>
            <a:ext cx="4945512" cy="446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9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975445" y="3475912"/>
            <a:ext cx="494551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aseline="0">
                <a:latin typeface="+mn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sp>
        <p:nvSpPr>
          <p:cNvPr id="3" name="Working Draft Text" hidden="1">
            <a:extLst>
              <a:ext uri="{FF2B5EF4-FFF2-40B4-BE49-F238E27FC236}">
                <a16:creationId xmlns:a16="http://schemas.microsoft.com/office/drawing/2014/main" id="{73154E46-EE04-4E09-BDA8-7203AC3200A4}"/>
              </a:ext>
            </a:extLst>
          </p:cNvPr>
          <p:cNvSpPr txBox="1"/>
          <p:nvPr/>
        </p:nvSpPr>
        <p:spPr>
          <a:xfrm>
            <a:off x="2540000" y="304800"/>
            <a:ext cx="9938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sz="900" b="1">
                <a:solidFill>
                  <a:srgbClr val="000000"/>
                </a:solidFill>
              </a:rPr>
              <a:t>WORKING DRAFT</a:t>
            </a:r>
            <a:endParaRPr lang="de-DE" sz="900" b="1" dirty="0">
              <a:solidFill>
                <a:srgbClr val="000000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A028FBFE-6425-42E6-A2E0-E1A0A3B6491E}"/>
              </a:ext>
            </a:extLst>
          </p:cNvPr>
          <p:cNvSpPr txBox="1"/>
          <p:nvPr/>
        </p:nvSpPr>
        <p:spPr>
          <a:xfrm>
            <a:off x="2540000" y="457200"/>
            <a:ext cx="30585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solidFill>
                  <a:srgbClr val="000000"/>
                </a:solidFill>
              </a:rPr>
              <a:t>Last Modified 04.11.2019 15:32 W. Europe Standard Time</a:t>
            </a:r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5" name="Printed" hidden="1">
            <a:extLst>
              <a:ext uri="{FF2B5EF4-FFF2-40B4-BE49-F238E27FC236}">
                <a16:creationId xmlns:a16="http://schemas.microsoft.com/office/drawing/2014/main" id="{1419C28D-C5CE-401C-9D50-DCEB7B268760}"/>
              </a:ext>
            </a:extLst>
          </p:cNvPr>
          <p:cNvSpPr txBox="1"/>
          <p:nvPr/>
        </p:nvSpPr>
        <p:spPr>
          <a:xfrm>
            <a:off x="2540000" y="609600"/>
            <a:ext cx="26609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solidFill>
                  <a:srgbClr val="000000"/>
                </a:solidFill>
              </a:rPr>
              <a:t>Printed 26.09.2019 11:46 W. Europe Standard Time</a:t>
            </a:r>
            <a:endParaRPr lang="de-DE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486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6331972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FFAB708A-F6AD-45E6-A489-D852CFC13A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>
              <a:tabLst>
                <a:tab pos="447675" algn="l"/>
              </a:tabLst>
              <a:defRPr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537265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 bwMode="invGray">
      <p:bgPr>
        <a:solidFill>
          <a:srgbClr val="337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4246472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C1C7924A-A778-43FB-A0EC-775FDC1937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>
              <a:tabLst>
                <a:tab pos="447675" algn="l"/>
              </a:tabLst>
              <a:defRPr>
                <a:solidFill>
                  <a:schemeClr val="bg1"/>
                </a:solidFill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64570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8202C-BC3B-4369-A21A-70CF8C3C8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0090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8202C-BC3B-4369-A21A-70CF8C3C8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041B44-714D-45DB-A5FE-329DC0725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61197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356117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FFAB708A-F6AD-45E6-A489-D852CFC13A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>
              <a:tabLst>
                <a:tab pos="447675" algn="l"/>
              </a:tabLst>
              <a:defRPr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2597637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 bwMode="invGray">
      <p:bgPr>
        <a:solidFill>
          <a:srgbClr val="337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771735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C1C7924A-A778-43FB-A0EC-775FDC1937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>
              <a:tabLst>
                <a:tab pos="447675" algn="l"/>
              </a:tabLst>
              <a:defRPr>
                <a:solidFill>
                  <a:schemeClr val="bg1"/>
                </a:solidFill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8822572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8202C-BC3B-4369-A21A-70CF8C3C8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9285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8202C-BC3B-4369-A21A-70CF8C3C8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041B44-714D-45DB-A5FE-329DC0725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3246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931827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ocument type" hidden="1"/>
          <p:cNvSpPr txBox="1">
            <a:spLocks noChangeArrowheads="1"/>
          </p:cNvSpPr>
          <p:nvPr/>
        </p:nvSpPr>
        <p:spPr bwMode="gray">
          <a:xfrm>
            <a:off x="975445" y="4102300"/>
            <a:ext cx="4945512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200" baseline="0" noProof="0" dirty="0">
                <a:latin typeface="+mn-lt"/>
              </a:rPr>
              <a:t>Dokument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gray">
          <a:xfrm>
            <a:off x="975445" y="4327042"/>
            <a:ext cx="4945512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200" baseline="0" noProof="0" dirty="0">
                <a:latin typeface="+mn-lt"/>
              </a:rPr>
              <a:t>Ort, Datum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975445" y="2064694"/>
            <a:ext cx="4945512" cy="446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9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975445" y="3475912"/>
            <a:ext cx="494551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aseline="0">
                <a:latin typeface="+mn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sp>
        <p:nvSpPr>
          <p:cNvPr id="3" name="Working Draft Text" hidden="1">
            <a:extLst>
              <a:ext uri="{FF2B5EF4-FFF2-40B4-BE49-F238E27FC236}">
                <a16:creationId xmlns:a16="http://schemas.microsoft.com/office/drawing/2014/main" id="{B2FC0B3D-1A6E-4D6D-B7FE-B01954E69B89}"/>
              </a:ext>
            </a:extLst>
          </p:cNvPr>
          <p:cNvSpPr txBox="1"/>
          <p:nvPr/>
        </p:nvSpPr>
        <p:spPr>
          <a:xfrm>
            <a:off x="2540000" y="304800"/>
            <a:ext cx="9938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sz="900" b="1">
                <a:solidFill>
                  <a:srgbClr val="000000"/>
                </a:solidFill>
              </a:rPr>
              <a:t>WORKING DRAFT</a:t>
            </a:r>
            <a:endParaRPr lang="de-DE" sz="900" b="1" dirty="0">
              <a:solidFill>
                <a:srgbClr val="000000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AB396CC8-B3DA-40E7-95F2-F0FB0E50EB43}"/>
              </a:ext>
            </a:extLst>
          </p:cNvPr>
          <p:cNvSpPr txBox="1"/>
          <p:nvPr/>
        </p:nvSpPr>
        <p:spPr>
          <a:xfrm>
            <a:off x="2540000" y="457200"/>
            <a:ext cx="30585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solidFill>
                  <a:srgbClr val="000000"/>
                </a:solidFill>
              </a:rPr>
              <a:t>Last Modified 04.11.2019 15:32 W. Europe Standard Time</a:t>
            </a:r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5" name="Printed" hidden="1">
            <a:extLst>
              <a:ext uri="{FF2B5EF4-FFF2-40B4-BE49-F238E27FC236}">
                <a16:creationId xmlns:a16="http://schemas.microsoft.com/office/drawing/2014/main" id="{6DD992F8-1D8E-4061-9517-3C937C0B6BE5}"/>
              </a:ext>
            </a:extLst>
          </p:cNvPr>
          <p:cNvSpPr txBox="1"/>
          <p:nvPr/>
        </p:nvSpPr>
        <p:spPr>
          <a:xfrm>
            <a:off x="2540000" y="609600"/>
            <a:ext cx="26609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solidFill>
                  <a:srgbClr val="000000"/>
                </a:solidFill>
              </a:rPr>
              <a:t>Printed 26.09.2019 11:46 W. Europe Standard Time</a:t>
            </a:r>
            <a:endParaRPr lang="de-DE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893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7012237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FFAB708A-F6AD-45E6-A489-D852CFC13AB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>
              <a:tabLst>
                <a:tab pos="447675" algn="l"/>
              </a:tabLst>
              <a:defRPr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501533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 bwMode="invGray">
      <p:bgPr>
        <a:solidFill>
          <a:srgbClr val="3372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553328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Placeholder 2">
            <a:extLst>
              <a:ext uri="{FF2B5EF4-FFF2-40B4-BE49-F238E27FC236}">
                <a16:creationId xmlns:a16="http://schemas.microsoft.com/office/drawing/2014/main" id="{C1C7924A-A778-43FB-A0EC-775FDC193748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1">
              <a:tabLst>
                <a:tab pos="447675" algn="l"/>
              </a:tabLst>
              <a:defRPr>
                <a:solidFill>
                  <a:schemeClr val="bg1"/>
                </a:solidFill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573898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268202C-BC3B-4369-A21A-70CF8C3C86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7460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4" imgH="526" progId="TCLayout.ActiveDocument.1">
                  <p:embed/>
                </p:oleObj>
              </mc:Choice>
              <mc:Fallback>
                <p:oleObj name="think-cell Slide" r:id="rId3" imgW="524" imgH="52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268202C-BC3B-4369-A21A-70CF8C3C86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041B44-714D-45DB-A5FE-329DC0725E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7775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613450"/>
              </p:ext>
            </p:extLst>
          </p:nvPr>
        </p:nvGraphicFramePr>
        <p:xfrm>
          <a:off x="1590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3" imgH="493" progId="TCLayout.ActiveDocument.1">
                  <p:embed/>
                </p:oleObj>
              </mc:Choice>
              <mc:Fallback>
                <p:oleObj name="think-cell Slide" r:id="rId3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ocument type" hidden="1"/>
          <p:cNvSpPr txBox="1">
            <a:spLocks noChangeArrowheads="1"/>
          </p:cNvSpPr>
          <p:nvPr/>
        </p:nvSpPr>
        <p:spPr bwMode="gray">
          <a:xfrm>
            <a:off x="975445" y="4102300"/>
            <a:ext cx="4945512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200" baseline="0" noProof="0" dirty="0">
                <a:latin typeface="+mn-lt"/>
              </a:rPr>
              <a:t>Dokument</a:t>
            </a:r>
          </a:p>
        </p:txBody>
      </p:sp>
      <p:sp>
        <p:nvSpPr>
          <p:cNvPr id="10" name="Date" hidden="1"/>
          <p:cNvSpPr txBox="1">
            <a:spLocks noChangeArrowheads="1"/>
          </p:cNvSpPr>
          <p:nvPr/>
        </p:nvSpPr>
        <p:spPr bwMode="gray">
          <a:xfrm>
            <a:off x="975445" y="4327042"/>
            <a:ext cx="4945512" cy="184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200" baseline="0" noProof="0" dirty="0">
                <a:latin typeface="+mn-lt"/>
              </a:rPr>
              <a:t>Ort, Datum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975445" y="2064694"/>
            <a:ext cx="4945512" cy="446276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9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975445" y="3475912"/>
            <a:ext cx="494551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baseline="0">
                <a:latin typeface="+mn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de-DE" noProof="0" dirty="0"/>
          </a:p>
        </p:txBody>
      </p:sp>
      <p:sp>
        <p:nvSpPr>
          <p:cNvPr id="3" name="Working Draft Text" hidden="1">
            <a:extLst>
              <a:ext uri="{FF2B5EF4-FFF2-40B4-BE49-F238E27FC236}">
                <a16:creationId xmlns:a16="http://schemas.microsoft.com/office/drawing/2014/main" id="{1DFC524C-DD77-4472-87CB-4AEE608FFC54}"/>
              </a:ext>
            </a:extLst>
          </p:cNvPr>
          <p:cNvSpPr txBox="1"/>
          <p:nvPr userDrawn="1"/>
        </p:nvSpPr>
        <p:spPr>
          <a:xfrm>
            <a:off x="2540000" y="304800"/>
            <a:ext cx="9938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sz="900" b="1">
                <a:solidFill>
                  <a:srgbClr val="000000"/>
                </a:solidFill>
              </a:rPr>
              <a:t>WORKING DRAFT</a:t>
            </a:r>
            <a:endParaRPr lang="de-DE" sz="900" b="1" dirty="0">
              <a:solidFill>
                <a:srgbClr val="000000"/>
              </a:solidFill>
            </a:endParaRPr>
          </a:p>
        </p:txBody>
      </p:sp>
      <p:sp>
        <p:nvSpPr>
          <p:cNvPr id="4" name="Working Draft" hidden="1">
            <a:extLst>
              <a:ext uri="{FF2B5EF4-FFF2-40B4-BE49-F238E27FC236}">
                <a16:creationId xmlns:a16="http://schemas.microsoft.com/office/drawing/2014/main" id="{D0FF28ED-AF21-4E10-BBFB-1CA59E72AF8A}"/>
              </a:ext>
            </a:extLst>
          </p:cNvPr>
          <p:cNvSpPr txBox="1"/>
          <p:nvPr userDrawn="1"/>
        </p:nvSpPr>
        <p:spPr>
          <a:xfrm>
            <a:off x="2540000" y="457200"/>
            <a:ext cx="3058530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solidFill>
                  <a:srgbClr val="000000"/>
                </a:solidFill>
              </a:rPr>
              <a:t>Last Modified 04.11.2019 15:32 W. Europe Standard Time</a:t>
            </a:r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5" name="Printed" hidden="1">
            <a:extLst>
              <a:ext uri="{FF2B5EF4-FFF2-40B4-BE49-F238E27FC236}">
                <a16:creationId xmlns:a16="http://schemas.microsoft.com/office/drawing/2014/main" id="{8BDDE883-A5F0-4C19-8685-D9AFDBFD7D4A}"/>
              </a:ext>
            </a:extLst>
          </p:cNvPr>
          <p:cNvSpPr txBox="1"/>
          <p:nvPr userDrawn="1"/>
        </p:nvSpPr>
        <p:spPr>
          <a:xfrm>
            <a:off x="2540000" y="609600"/>
            <a:ext cx="266098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900">
                <a:solidFill>
                  <a:srgbClr val="000000"/>
                </a:solidFill>
              </a:rPr>
              <a:t>Printed 26.09.2019 11:46 W. Europe Standard Time</a:t>
            </a:r>
            <a:endParaRPr lang="de-DE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0155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21" Type="http://schemas.openxmlformats.org/officeDocument/2006/relationships/tags" Target="../tags/tag17.xml"/><Relationship Id="rId34" Type="http://schemas.openxmlformats.org/officeDocument/2006/relationships/tags" Target="../tags/tag30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tags" Target="../tags/tag2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37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36" Type="http://schemas.openxmlformats.org/officeDocument/2006/relationships/tags" Target="../tags/tag32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Relationship Id="rId35" Type="http://schemas.openxmlformats.org/officeDocument/2006/relationships/tags" Target="../tags/tag31.xml"/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21" Type="http://schemas.openxmlformats.org/officeDocument/2006/relationships/tags" Target="../tags/tag52.xml"/><Relationship Id="rId34" Type="http://schemas.openxmlformats.org/officeDocument/2006/relationships/tags" Target="../tags/tag65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tags" Target="../tags/tag64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oleObject" Target="../embeddings/oleObject6.bin"/><Relationship Id="rId5" Type="http://schemas.openxmlformats.org/officeDocument/2006/relationships/theme" Target="../theme/theme2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tags" Target="../tags/tag67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tags" Target="../tags/tag66.xml"/><Relationship Id="rId8" Type="http://schemas.openxmlformats.org/officeDocument/2006/relationships/tags" Target="../tags/tag39.xml"/><Relationship Id="rId3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21" Type="http://schemas.openxmlformats.org/officeDocument/2006/relationships/tags" Target="../tags/tag87.xml"/><Relationship Id="rId34" Type="http://schemas.openxmlformats.org/officeDocument/2006/relationships/tags" Target="../tags/tag100.xml"/><Relationship Id="rId7" Type="http://schemas.openxmlformats.org/officeDocument/2006/relationships/tags" Target="../tags/tag73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33" Type="http://schemas.openxmlformats.org/officeDocument/2006/relationships/tags" Target="../tags/tag99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tags" Target="../tags/tag95.xml"/><Relationship Id="rId1" Type="http://schemas.openxmlformats.org/officeDocument/2006/relationships/slideLayout" Target="../slideLayouts/slideLayout9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32" Type="http://schemas.openxmlformats.org/officeDocument/2006/relationships/tags" Target="../tags/tag98.xml"/><Relationship Id="rId37" Type="http://schemas.openxmlformats.org/officeDocument/2006/relationships/oleObject" Target="../embeddings/oleObject11.bin"/><Relationship Id="rId5" Type="http://schemas.openxmlformats.org/officeDocument/2006/relationships/theme" Target="../theme/theme3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36" Type="http://schemas.openxmlformats.org/officeDocument/2006/relationships/tags" Target="../tags/tag102.xml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31" Type="http://schemas.openxmlformats.org/officeDocument/2006/relationships/tags" Target="../tags/tag97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tags" Target="../tags/tag96.xml"/><Relationship Id="rId35" Type="http://schemas.openxmlformats.org/officeDocument/2006/relationships/tags" Target="../tags/tag101.xml"/><Relationship Id="rId8" Type="http://schemas.openxmlformats.org/officeDocument/2006/relationships/tags" Target="../tags/tag74.xml"/><Relationship Id="rId3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82701191"/>
              </p:ext>
            </p:extLst>
          </p:nvPr>
        </p:nvGraphicFramePr>
        <p:xfrm>
          <a:off x="0" y="2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2" name="Title Placeholder 2">
            <a:extLst>
              <a:ext uri="{FF2B5EF4-FFF2-40B4-BE49-F238E27FC236}">
                <a16:creationId xmlns:a16="http://schemas.microsoft.com/office/drawing/2014/main" id="{C63E4853-76DF-4E82-93F3-1C1797E6782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de-DE" noProof="0" dirty="0"/>
          </a:p>
        </p:txBody>
      </p:sp>
      <p:sp>
        <p:nvSpPr>
          <p:cNvPr id="231" name="Rectangle 286">
            <a:extLst>
              <a:ext uri="{FF2B5EF4-FFF2-40B4-BE49-F238E27FC236}">
                <a16:creationId xmlns:a16="http://schemas.microsoft.com/office/drawing/2014/main" id="{8BEF51BE-745D-4BFB-A1F7-632A88F4E56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487362" y="1944727"/>
            <a:ext cx="832855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grpSp>
        <p:nvGrpSpPr>
          <p:cNvPr id="233" name="ACET" hidden="1">
            <a:extLst>
              <a:ext uri="{FF2B5EF4-FFF2-40B4-BE49-F238E27FC236}">
                <a16:creationId xmlns:a16="http://schemas.microsoft.com/office/drawing/2014/main" id="{B7BFAA48-F233-4733-814D-2D34ADF8A94A}"/>
              </a:ext>
            </a:extLst>
          </p:cNvPr>
          <p:cNvGrpSpPr>
            <a:grpSpLocks/>
          </p:cNvGrpSpPr>
          <p:nvPr/>
        </p:nvGrpSpPr>
        <p:grpSpPr bwMode="gray">
          <a:xfrm>
            <a:off x="482332" y="1330760"/>
            <a:ext cx="4350892" cy="510219"/>
            <a:chOff x="915" y="715"/>
            <a:chExt cx="2686" cy="315"/>
          </a:xfrm>
        </p:grpSpPr>
        <p:cxnSp>
          <p:nvCxnSpPr>
            <p:cNvPr id="234" name="AutoShape 249">
              <a:extLst>
                <a:ext uri="{FF2B5EF4-FFF2-40B4-BE49-F238E27FC236}">
                  <a16:creationId xmlns:a16="http://schemas.microsoft.com/office/drawing/2014/main" id="{8E299325-0908-429A-A43C-864ABBC3BF0A}"/>
                </a:ext>
              </a:extLst>
            </p:cNvPr>
            <p:cNvCxnSpPr>
              <a:cxnSpLocks noChangeShapeType="1"/>
              <a:stCxn id="235" idx="4"/>
              <a:endCxn id="23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5" name="AutoShape 250">
              <a:extLst>
                <a:ext uri="{FF2B5EF4-FFF2-40B4-BE49-F238E27FC236}">
                  <a16:creationId xmlns:a16="http://schemas.microsoft.com/office/drawing/2014/main" id="{67326F4F-D049-4C75-8265-333792AFF1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de-D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de-DE" sz="1600" baseline="0" noProof="0" dirty="0">
                  <a:solidFill>
                    <a:schemeClr val="tx1"/>
                  </a:solidFill>
                  <a:latin typeface="+mn-lt"/>
                  <a:ea typeface="+mn-ea"/>
                </a:rPr>
                <a:t>Unit </a:t>
              </a:r>
              <a:r>
                <a:rPr lang="de-DE" sz="1600" baseline="0" noProof="0" dirty="0" err="1">
                  <a:solidFill>
                    <a:schemeClr val="tx1"/>
                  </a:solidFill>
                  <a:latin typeface="+mn-lt"/>
                  <a:ea typeface="+mn-ea"/>
                </a:rPr>
                <a:t>of</a:t>
              </a:r>
              <a:r>
                <a:rPr lang="de-DE" sz="1600" baseline="0" noProof="0" dirty="0">
                  <a:solidFill>
                    <a:schemeClr val="tx1"/>
                  </a:solidFill>
                  <a:latin typeface="+mn-lt"/>
                  <a:ea typeface="+mn-ea"/>
                </a:rPr>
                <a:t> </a:t>
              </a:r>
              <a:r>
                <a:rPr lang="de-DE" sz="1600" baseline="0" noProof="0" dirty="0" err="1">
                  <a:solidFill>
                    <a:schemeClr val="tx1"/>
                  </a:solidFill>
                  <a:latin typeface="+mn-lt"/>
                  <a:ea typeface="+mn-ea"/>
                </a:rPr>
                <a:t>measure</a:t>
              </a:r>
              <a:endParaRPr lang="de-DE" sz="1600" baseline="0" noProof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36" name="LegendBoxes" hidden="1">
            <a:extLst>
              <a:ext uri="{FF2B5EF4-FFF2-40B4-BE49-F238E27FC236}">
                <a16:creationId xmlns:a16="http://schemas.microsoft.com/office/drawing/2014/main" id="{178CE95F-AAA5-4233-B75E-5AC888A3C7E1}"/>
              </a:ext>
            </a:extLst>
          </p:cNvPr>
          <p:cNvGrpSpPr>
            <a:grpSpLocks/>
          </p:cNvGrpSpPr>
          <p:nvPr/>
        </p:nvGrpSpPr>
        <p:grpSpPr bwMode="gray">
          <a:xfrm>
            <a:off x="7957228" y="705842"/>
            <a:ext cx="853656" cy="1013962"/>
            <a:chOff x="4936" y="176"/>
            <a:chExt cx="527" cy="626"/>
          </a:xfrm>
        </p:grpSpPr>
        <p:sp>
          <p:nvSpPr>
            <p:cNvPr id="237" name="Legend1">
              <a:extLst>
                <a:ext uri="{FF2B5EF4-FFF2-40B4-BE49-F238E27FC236}">
                  <a16:creationId xmlns:a16="http://schemas.microsoft.com/office/drawing/2014/main" id="{FD2954D7-7A55-4DE6-BCB8-CEC5F455FF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38" name="LegendRectangle1">
              <a:extLst>
                <a:ext uri="{FF2B5EF4-FFF2-40B4-BE49-F238E27FC236}">
                  <a16:creationId xmlns:a16="http://schemas.microsoft.com/office/drawing/2014/main" id="{90715808-B60F-4060-87EB-A373BAF2A80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39" name="Legend2">
              <a:extLst>
                <a:ext uri="{FF2B5EF4-FFF2-40B4-BE49-F238E27FC236}">
                  <a16:creationId xmlns:a16="http://schemas.microsoft.com/office/drawing/2014/main" id="{3CED7A6B-0705-47FE-9498-42190C9FE2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34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0" name="LegendRectangle2">
              <a:extLst>
                <a:ext uri="{FF2B5EF4-FFF2-40B4-BE49-F238E27FC236}">
                  <a16:creationId xmlns:a16="http://schemas.microsoft.com/office/drawing/2014/main" id="{5D408D83-C3A2-4F29-B503-A5D73750E8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rgbClr val="72BF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1" name="Legend3">
              <a:extLst>
                <a:ext uri="{FF2B5EF4-FFF2-40B4-BE49-F238E27FC236}">
                  <a16:creationId xmlns:a16="http://schemas.microsoft.com/office/drawing/2014/main" id="{FE873619-EDEB-42C5-A3D6-186F6AAD54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517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2" name="LegendRectangle3">
              <a:extLst>
                <a:ext uri="{FF2B5EF4-FFF2-40B4-BE49-F238E27FC236}">
                  <a16:creationId xmlns:a16="http://schemas.microsoft.com/office/drawing/2014/main" id="{47C70F84-C2C7-46AE-B1AD-8CB46CCA9D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rgbClr val="55B47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3" name="Legend4">
              <a:extLst>
                <a:ext uri="{FF2B5EF4-FFF2-40B4-BE49-F238E27FC236}">
                  <a16:creationId xmlns:a16="http://schemas.microsoft.com/office/drawing/2014/main" id="{7B681804-DE82-4F59-8942-958206A6D77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688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4" name="LegendRectangle4">
              <a:extLst>
                <a:ext uri="{FF2B5EF4-FFF2-40B4-BE49-F238E27FC236}">
                  <a16:creationId xmlns:a16="http://schemas.microsoft.com/office/drawing/2014/main" id="{66D5DCF2-ADFF-434C-802C-80154CF4EE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3372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</p:grpSp>
      <p:grpSp>
        <p:nvGrpSpPr>
          <p:cNvPr id="245" name="LegendLines" hidden="1">
            <a:extLst>
              <a:ext uri="{FF2B5EF4-FFF2-40B4-BE49-F238E27FC236}">
                <a16:creationId xmlns:a16="http://schemas.microsoft.com/office/drawing/2014/main" id="{24DA7C49-012D-4BF4-801F-000B08FDB8DB}"/>
              </a:ext>
            </a:extLst>
          </p:cNvPr>
          <p:cNvGrpSpPr>
            <a:grpSpLocks/>
          </p:cNvGrpSpPr>
          <p:nvPr/>
        </p:nvGrpSpPr>
        <p:grpSpPr bwMode="gray">
          <a:xfrm>
            <a:off x="7642979" y="705842"/>
            <a:ext cx="1167905" cy="741845"/>
            <a:chOff x="4750" y="176"/>
            <a:chExt cx="721" cy="458"/>
          </a:xfrm>
        </p:grpSpPr>
        <p:sp>
          <p:nvSpPr>
            <p:cNvPr id="246" name="LineLegend1">
              <a:extLst>
                <a:ext uri="{FF2B5EF4-FFF2-40B4-BE49-F238E27FC236}">
                  <a16:creationId xmlns:a16="http://schemas.microsoft.com/office/drawing/2014/main" id="{39EA9B37-BBF4-4D0F-A898-3944E050EA7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7" name="LineLegend2">
              <a:extLst>
                <a:ext uri="{FF2B5EF4-FFF2-40B4-BE49-F238E27FC236}">
                  <a16:creationId xmlns:a16="http://schemas.microsoft.com/office/drawing/2014/main" id="{13E44DE0-4525-4A65-A81F-F5706439259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8" name="LineLegend3">
              <a:extLst>
                <a:ext uri="{FF2B5EF4-FFF2-40B4-BE49-F238E27FC236}">
                  <a16:creationId xmlns:a16="http://schemas.microsoft.com/office/drawing/2014/main" id="{725907F6-2295-40BF-9897-65CD68C1C5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9" name="Legend1">
              <a:extLst>
                <a:ext uri="{FF2B5EF4-FFF2-40B4-BE49-F238E27FC236}">
                  <a16:creationId xmlns:a16="http://schemas.microsoft.com/office/drawing/2014/main" id="{1179389F-A4CE-4774-8E4A-50248D83A7F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50" name="Legend2">
              <a:extLst>
                <a:ext uri="{FF2B5EF4-FFF2-40B4-BE49-F238E27FC236}">
                  <a16:creationId xmlns:a16="http://schemas.microsoft.com/office/drawing/2014/main" id="{AC0C0CD9-FE01-4C39-A802-1D682AF4108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344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51" name="Legend3">
              <a:extLst>
                <a:ext uri="{FF2B5EF4-FFF2-40B4-BE49-F238E27FC236}">
                  <a16:creationId xmlns:a16="http://schemas.microsoft.com/office/drawing/2014/main" id="{ABDC7ADA-5CF9-473B-900E-C762DB2F0BE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520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</p:grpSp>
      <p:grpSp>
        <p:nvGrpSpPr>
          <p:cNvPr id="252" name="Sticker" hidden="1">
            <a:extLst>
              <a:ext uri="{FF2B5EF4-FFF2-40B4-BE49-F238E27FC236}">
                <a16:creationId xmlns:a16="http://schemas.microsoft.com/office/drawing/2014/main" id="{58CB69B6-A04E-4A58-885B-DC1A5C4FD9AB}"/>
              </a:ext>
            </a:extLst>
          </p:cNvPr>
          <p:cNvGrpSpPr/>
          <p:nvPr/>
        </p:nvGrpSpPr>
        <p:grpSpPr bwMode="gray">
          <a:xfrm>
            <a:off x="8236497" y="705842"/>
            <a:ext cx="574388" cy="241447"/>
            <a:chOff x="8177855" y="288153"/>
            <a:chExt cx="562920" cy="236641"/>
          </a:xfrm>
        </p:grpSpPr>
        <p:sp>
          <p:nvSpPr>
            <p:cNvPr id="253" name="StickerRectangle">
              <a:extLst>
                <a:ext uri="{FF2B5EF4-FFF2-40B4-BE49-F238E27FC236}">
                  <a16:creationId xmlns:a16="http://schemas.microsoft.com/office/drawing/2014/main" id="{87F0D757-2513-4B38-AD13-A0152E1636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7855" y="288153"/>
              <a:ext cx="562920" cy="2366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20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254" name="AutoShape 32">
              <a:extLst>
                <a:ext uri="{FF2B5EF4-FFF2-40B4-BE49-F238E27FC236}">
                  <a16:creationId xmlns:a16="http://schemas.microsoft.com/office/drawing/2014/main" id="{1398B4D7-125F-4DF8-BA27-26E0F99AAEA8}"/>
                </a:ext>
              </a:extLst>
            </p:cNvPr>
            <p:cNvCxnSpPr>
              <a:cxnSpLocks noChangeShapeType="1"/>
              <a:stCxn id="253" idx="4"/>
              <a:endCxn id="253" idx="6"/>
            </p:cNvCxnSpPr>
            <p:nvPr/>
          </p:nvCxnSpPr>
          <p:spPr bwMode="gray">
            <a:xfrm>
              <a:off x="8177855" y="524794"/>
              <a:ext cx="56292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5" name="AutoShape 32">
              <a:extLst>
                <a:ext uri="{FF2B5EF4-FFF2-40B4-BE49-F238E27FC236}">
                  <a16:creationId xmlns:a16="http://schemas.microsoft.com/office/drawing/2014/main" id="{FBF6EE8C-ACDF-405C-BDA6-C5AECD90CF66}"/>
                </a:ext>
              </a:extLst>
            </p:cNvPr>
            <p:cNvCxnSpPr>
              <a:cxnSpLocks noChangeShapeType="1"/>
              <a:stCxn id="253" idx="2"/>
              <a:endCxn id="253" idx="0"/>
            </p:cNvCxnSpPr>
            <p:nvPr userDrawn="1"/>
          </p:nvCxnSpPr>
          <p:spPr bwMode="gray">
            <a:xfrm>
              <a:off x="8177855" y="288153"/>
              <a:ext cx="56292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6" name="LegendMoons" hidden="1">
            <a:extLst>
              <a:ext uri="{FF2B5EF4-FFF2-40B4-BE49-F238E27FC236}">
                <a16:creationId xmlns:a16="http://schemas.microsoft.com/office/drawing/2014/main" id="{B9FD1467-C9BF-4995-943B-942940CE1C92}"/>
              </a:ext>
            </a:extLst>
          </p:cNvPr>
          <p:cNvGrpSpPr/>
          <p:nvPr/>
        </p:nvGrpSpPr>
        <p:grpSpPr bwMode="gray">
          <a:xfrm>
            <a:off x="7876846" y="705842"/>
            <a:ext cx="934038" cy="1333054"/>
            <a:chOff x="7769225" y="2105025"/>
            <a:chExt cx="915390" cy="1306516"/>
          </a:xfrm>
        </p:grpSpPr>
        <p:grpSp>
          <p:nvGrpSpPr>
            <p:cNvPr id="257" name="MoonLegend1">
              <a:extLst>
                <a:ext uri="{FF2B5EF4-FFF2-40B4-BE49-F238E27FC236}">
                  <a16:creationId xmlns:a16="http://schemas.microsoft.com/office/drawing/2014/main" id="{C141AADD-6EF5-408C-B89C-6998065C081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275" name="Oval 38">
                <a:extLst>
                  <a:ext uri="{FF2B5EF4-FFF2-40B4-BE49-F238E27FC236}">
                    <a16:creationId xmlns:a16="http://schemas.microsoft.com/office/drawing/2014/main" id="{69F302F8-5305-4F34-85E9-4FB421CBB9B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6" name="Arc 39">
                <a:extLst>
                  <a:ext uri="{FF2B5EF4-FFF2-40B4-BE49-F238E27FC236}">
                    <a16:creationId xmlns:a16="http://schemas.microsoft.com/office/drawing/2014/main" id="{2EF6E64B-E9EB-494C-83FB-007E7FB142AA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58" name="MoonLegend2">
              <a:extLst>
                <a:ext uri="{FF2B5EF4-FFF2-40B4-BE49-F238E27FC236}">
                  <a16:creationId xmlns:a16="http://schemas.microsoft.com/office/drawing/2014/main" id="{F7B87BFA-761F-4BD1-A15C-344C48FC3B7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273" name="Oval 41">
                <a:extLst>
                  <a:ext uri="{FF2B5EF4-FFF2-40B4-BE49-F238E27FC236}">
                    <a16:creationId xmlns:a16="http://schemas.microsoft.com/office/drawing/2014/main" id="{61C3042E-6EAD-4A35-A7E4-C59B18A3EBF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4" name="Arc 42">
                <a:extLst>
                  <a:ext uri="{FF2B5EF4-FFF2-40B4-BE49-F238E27FC236}">
                    <a16:creationId xmlns:a16="http://schemas.microsoft.com/office/drawing/2014/main" id="{4F3D0221-B283-4579-B397-F5330A0014C2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59" name="MoonLegend4">
              <a:extLst>
                <a:ext uri="{FF2B5EF4-FFF2-40B4-BE49-F238E27FC236}">
                  <a16:creationId xmlns:a16="http://schemas.microsoft.com/office/drawing/2014/main" id="{BCCCD0D1-32E8-4A48-8135-0E58019CDAE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271" name="Oval 47">
                <a:extLst>
                  <a:ext uri="{FF2B5EF4-FFF2-40B4-BE49-F238E27FC236}">
                    <a16:creationId xmlns:a16="http://schemas.microsoft.com/office/drawing/2014/main" id="{4624F1EA-8FBC-451A-965F-7D43D249C0F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2" name="Arc 48">
                <a:extLst>
                  <a:ext uri="{FF2B5EF4-FFF2-40B4-BE49-F238E27FC236}">
                    <a16:creationId xmlns:a16="http://schemas.microsoft.com/office/drawing/2014/main" id="{A2A90D3D-76A7-49E1-B27E-ABC461AF523A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60" name="MoonLegend5">
              <a:extLst>
                <a:ext uri="{FF2B5EF4-FFF2-40B4-BE49-F238E27FC236}">
                  <a16:creationId xmlns:a16="http://schemas.microsoft.com/office/drawing/2014/main" id="{C118DC04-4F9D-45EE-B5B2-78B7A6E9771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269" name="Oval 50">
                <a:extLst>
                  <a:ext uri="{FF2B5EF4-FFF2-40B4-BE49-F238E27FC236}">
                    <a16:creationId xmlns:a16="http://schemas.microsoft.com/office/drawing/2014/main" id="{CC3F96B2-DF3D-46E4-907E-D1AA42E4B3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0" name="Oval 51">
                <a:extLst>
                  <a:ext uri="{FF2B5EF4-FFF2-40B4-BE49-F238E27FC236}">
                    <a16:creationId xmlns:a16="http://schemas.microsoft.com/office/drawing/2014/main" id="{E8759416-6C68-42C6-8D9F-1C892B3645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sp>
          <p:nvSpPr>
            <p:cNvPr id="261" name="Legend1">
              <a:extLst>
                <a:ext uri="{FF2B5EF4-FFF2-40B4-BE49-F238E27FC236}">
                  <a16:creationId xmlns:a16="http://schemas.microsoft.com/office/drawing/2014/main" id="{F9B455C1-E854-4256-BCEA-F3B06E26D91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117467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2" name="Legend2">
              <a:extLst>
                <a:ext uri="{FF2B5EF4-FFF2-40B4-BE49-F238E27FC236}">
                  <a16:creationId xmlns:a16="http://schemas.microsoft.com/office/drawing/2014/main" id="{7D5A9FB9-F434-4D96-BAF5-0E11046E2C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392363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3" name="Legend3">
              <a:extLst>
                <a:ext uri="{FF2B5EF4-FFF2-40B4-BE49-F238E27FC236}">
                  <a16:creationId xmlns:a16="http://schemas.microsoft.com/office/drawing/2014/main" id="{A246E890-13DF-4A0E-A9B8-A144B6F04E2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67002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4" name="Legend4">
              <a:extLst>
                <a:ext uri="{FF2B5EF4-FFF2-40B4-BE49-F238E27FC236}">
                  <a16:creationId xmlns:a16="http://schemas.microsoft.com/office/drawing/2014/main" id="{D1E040E8-71E3-4836-A062-B8120447C8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938465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5" name="Legend5">
              <a:extLst>
                <a:ext uri="{FF2B5EF4-FFF2-40B4-BE49-F238E27FC236}">
                  <a16:creationId xmlns:a16="http://schemas.microsoft.com/office/drawing/2014/main" id="{50240907-172D-4753-91C9-80D0DA5159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3214690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grpSp>
          <p:nvGrpSpPr>
            <p:cNvPr id="266" name="MoonLegend3">
              <a:extLst>
                <a:ext uri="{FF2B5EF4-FFF2-40B4-BE49-F238E27FC236}">
                  <a16:creationId xmlns:a16="http://schemas.microsoft.com/office/drawing/2014/main" id="{734B19B6-EAB3-4182-A4D2-294E2B0914A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267" name="Oval 47">
                <a:extLst>
                  <a:ext uri="{FF2B5EF4-FFF2-40B4-BE49-F238E27FC236}">
                    <a16:creationId xmlns:a16="http://schemas.microsoft.com/office/drawing/2014/main" id="{4ED7ADEC-CA19-4A94-AECD-EAB2A6BEB1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68" name="Arc 48">
                <a:extLst>
                  <a:ext uri="{FF2B5EF4-FFF2-40B4-BE49-F238E27FC236}">
                    <a16:creationId xmlns:a16="http://schemas.microsoft.com/office/drawing/2014/main" id="{E4E23CA7-BF4B-4C0F-BC49-209BD8CC9824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</p:grpSp>
      <p:sp>
        <p:nvSpPr>
          <p:cNvPr id="277" name="pg number">
            <a:extLst>
              <a:ext uri="{FF2B5EF4-FFF2-40B4-BE49-F238E27FC236}">
                <a16:creationId xmlns:a16="http://schemas.microsoft.com/office/drawing/2014/main" id="{2643CF11-ED9A-4B78-866C-85C18685F107}"/>
              </a:ext>
            </a:extLst>
          </p:cNvPr>
          <p:cNvSpPr>
            <a:spLocks/>
          </p:cNvSpPr>
          <p:nvPr/>
        </p:nvSpPr>
        <p:spPr bwMode="gray">
          <a:xfrm>
            <a:off x="8546388" y="4854488"/>
            <a:ext cx="264496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r>
              <a:rPr lang="de-DE" sz="600" noProof="0" dirty="0">
                <a:solidFill>
                  <a:srgbClr val="898989"/>
                </a:solidFill>
                <a:latin typeface="+mn-lt"/>
              </a:rPr>
              <a:t>Seite </a:t>
            </a:r>
            <a:fld id="{42C328C1-A84F-4A39-A664-DBA00541A8C6}" type="slidenum">
              <a:rPr lang="de-DE" sz="600" noProof="0" smtClean="0">
                <a:solidFill>
                  <a:srgbClr val="898989"/>
                </a:solidFill>
                <a:latin typeface="+mn-lt"/>
              </a:rPr>
              <a:pPr lvl="0" algn="r"/>
              <a:t>‹Nr.›</a:t>
            </a:fld>
            <a:endParaRPr lang="de-DE" sz="600" baseline="0" noProof="0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278" name="3. Unit of measure" hidden="1">
            <a:extLst>
              <a:ext uri="{FF2B5EF4-FFF2-40B4-BE49-F238E27FC236}">
                <a16:creationId xmlns:a16="http://schemas.microsoft.com/office/drawing/2014/main" id="{C1C5E9FC-6DFB-4661-BBC8-BFE79A2A891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2332" y="705842"/>
            <a:ext cx="832855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447675" algn="l"/>
              </a:tabLst>
              <a:defRPr/>
            </a:pPr>
            <a:r>
              <a:rPr lang="de-DE" sz="1600" baseline="0" noProof="0">
                <a:solidFill>
                  <a:schemeClr val="tx1"/>
                </a:solidFill>
                <a:latin typeface="+mn-lt"/>
              </a:rPr>
              <a:t>Subtitle</a:t>
            </a:r>
            <a:endParaRPr lang="de-DE" sz="1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79" name="1. On-page tracker" hidden="1">
            <a:extLst>
              <a:ext uri="{FF2B5EF4-FFF2-40B4-BE49-F238E27FC236}">
                <a16:creationId xmlns:a16="http://schemas.microsoft.com/office/drawing/2014/main" id="{F2397FCC-58BD-48D6-B195-C27C77AD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2332" y="39933"/>
            <a:ext cx="6253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447675" algn="l"/>
              </a:tabLst>
            </a:pPr>
            <a:r>
              <a:rPr lang="de-DE" sz="1200" cap="all" baseline="0" dirty="0" err="1">
                <a:latin typeface="+mn-lt"/>
                <a:ea typeface="+mj-ea"/>
              </a:rPr>
              <a:t>TRACKER</a:t>
            </a:r>
            <a:endParaRPr lang="de-DE" sz="1200" cap="all" baseline="0" dirty="0">
              <a:latin typeface="+mn-lt"/>
              <a:ea typeface="+mj-ea"/>
            </a:endParaRPr>
          </a:p>
        </p:txBody>
      </p:sp>
      <p:grpSp>
        <p:nvGrpSpPr>
          <p:cNvPr id="286" name="Moon" hidden="1">
            <a:extLst>
              <a:ext uri="{FF2B5EF4-FFF2-40B4-BE49-F238E27FC236}">
                <a16:creationId xmlns:a16="http://schemas.microsoft.com/office/drawing/2014/main" id="{63BC6243-1F52-45E4-A894-40C9C2856252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8551710" y="2916674"/>
            <a:ext cx="259174" cy="259159"/>
            <a:chOff x="762000" y="1270000"/>
            <a:chExt cx="254000" cy="25400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225CDC12-613F-4CBC-BA3D-52A937C7198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88" name="Arc 287">
              <a:extLst>
                <a:ext uri="{FF2B5EF4-FFF2-40B4-BE49-F238E27FC236}">
                  <a16:creationId xmlns:a16="http://schemas.microsoft.com/office/drawing/2014/main" id="{0CD8258A-FCA7-4622-8D5B-8324DA89B6E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rgbClr val="337299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/>
              <a:endParaRPr lang="de-DE" sz="1200" dirty="0"/>
            </a:p>
          </p:txBody>
        </p:sp>
      </p:grpSp>
      <p:sp>
        <p:nvSpPr>
          <p:cNvPr id="280" name="Oval" hidden="1">
            <a:extLst>
              <a:ext uri="{FF2B5EF4-FFF2-40B4-BE49-F238E27FC236}">
                <a16:creationId xmlns:a16="http://schemas.microsoft.com/office/drawing/2014/main" id="{AAEEEC64-41F4-49EB-BDB4-5F1FABDE832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766479" y="933724"/>
            <a:ext cx="1315163" cy="1315086"/>
          </a:xfrm>
          <a:prstGeom prst="ellipse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 algn="ctr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1" name="Rectangle" hidden="1">
            <a:extLst>
              <a:ext uri="{FF2B5EF4-FFF2-40B4-BE49-F238E27FC236}">
                <a16:creationId xmlns:a16="http://schemas.microsoft.com/office/drawing/2014/main" id="{2D6C430B-CBFD-49DE-8C43-0F367B21845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902711" y="933724"/>
            <a:ext cx="1315163" cy="1315086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2" name="RoundedRectangle" hidden="1">
            <a:extLst>
              <a:ext uri="{FF2B5EF4-FFF2-40B4-BE49-F238E27FC236}">
                <a16:creationId xmlns:a16="http://schemas.microsoft.com/office/drawing/2014/main" id="{74017F43-6896-4287-B25A-3224B3092F0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334595" y="933724"/>
            <a:ext cx="1315163" cy="1315086"/>
          </a:xfrm>
          <a:prstGeom prst="round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3" name="Arrow" hidden="1">
            <a:extLst>
              <a:ext uri="{FF2B5EF4-FFF2-40B4-BE49-F238E27FC236}">
                <a16:creationId xmlns:a16="http://schemas.microsoft.com/office/drawing/2014/main" id="{1661818F-9796-4568-A871-51F991C8038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900816" y="3278336"/>
            <a:ext cx="1578196" cy="789051"/>
          </a:xfrm>
          <a:prstGeom prst="rightArrow">
            <a:avLst>
              <a:gd name="adj1" fmla="val 54000"/>
              <a:gd name="adj2" fmla="val 37678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4" name="DirArrow" hidden="1">
            <a:extLst>
              <a:ext uri="{FF2B5EF4-FFF2-40B4-BE49-F238E27FC236}">
                <a16:creationId xmlns:a16="http://schemas.microsoft.com/office/drawing/2014/main" id="{158966D4-0635-4754-AC79-5C17C8C1D032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6013042" y="2119046"/>
            <a:ext cx="2666994" cy="296350"/>
          </a:xfrm>
          <a:prstGeom prst="triangle">
            <a:avLst>
              <a:gd name="adj" fmla="val 50000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/>
            <a:endParaRPr lang="de-DE" sz="1600" dirty="0">
              <a:latin typeface="+mn-lt"/>
              <a:sym typeface="+mn-lt"/>
            </a:endParaRPr>
          </a:p>
        </p:txBody>
      </p:sp>
      <p:sp>
        <p:nvSpPr>
          <p:cNvPr id="285" name="Bracket" hidden="1">
            <a:extLst>
              <a:ext uri="{FF2B5EF4-FFF2-40B4-BE49-F238E27FC236}">
                <a16:creationId xmlns:a16="http://schemas.microsoft.com/office/drawing/2014/main" id="{5FCCB044-E9BF-430D-A825-D3CC24041CA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362902" y="2369047"/>
            <a:ext cx="190425" cy="157810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868"/>
              <a:gd name="connsiteY0" fmla="*/ 0 h 3282"/>
              <a:gd name="connsiteX1" fmla="*/ 3818 w 3868"/>
              <a:gd name="connsiteY1" fmla="*/ 213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79 w 3868"/>
              <a:gd name="connsiteY2" fmla="*/ 537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3818 w 3818"/>
              <a:gd name="connsiteY4" fmla="*/ 2754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79 w 3818"/>
              <a:gd name="connsiteY4" fmla="*/ 615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753"/>
              <a:gd name="connsiteY0" fmla="*/ 0 h 3282"/>
              <a:gd name="connsiteX1" fmla="*/ 79 w 3753"/>
              <a:gd name="connsiteY1" fmla="*/ 0 h 3282"/>
              <a:gd name="connsiteX2" fmla="*/ 79 w 3753"/>
              <a:gd name="connsiteY2" fmla="*/ 537 h 3282"/>
              <a:gd name="connsiteX3" fmla="*/ 118 w 3753"/>
              <a:gd name="connsiteY3" fmla="*/ 576 h 3282"/>
              <a:gd name="connsiteX4" fmla="*/ 79 w 3753"/>
              <a:gd name="connsiteY4" fmla="*/ 615 h 3282"/>
              <a:gd name="connsiteX5" fmla="*/ 79 w 3753"/>
              <a:gd name="connsiteY5" fmla="*/ 1152 h 3282"/>
              <a:gd name="connsiteX6" fmla="*/ 3753 w 3753"/>
              <a:gd name="connsiteY6" fmla="*/ 3282 h 3282"/>
              <a:gd name="connsiteX0" fmla="*/ 0 w 118"/>
              <a:gd name="connsiteY0" fmla="*/ 0 h 1152"/>
              <a:gd name="connsiteX1" fmla="*/ 79 w 118"/>
              <a:gd name="connsiteY1" fmla="*/ 0 h 1152"/>
              <a:gd name="connsiteX2" fmla="*/ 79 w 118"/>
              <a:gd name="connsiteY2" fmla="*/ 537 h 1152"/>
              <a:gd name="connsiteX3" fmla="*/ 118 w 118"/>
              <a:gd name="connsiteY3" fmla="*/ 576 h 1152"/>
              <a:gd name="connsiteX4" fmla="*/ 79 w 118"/>
              <a:gd name="connsiteY4" fmla="*/ 615 h 1152"/>
              <a:gd name="connsiteX5" fmla="*/ 79 w 118"/>
              <a:gd name="connsiteY5" fmla="*/ 1152 h 1152"/>
              <a:gd name="connsiteX6" fmla="*/ 0 w 118"/>
              <a:gd name="connsiteY6" fmla="*/ 1152 h 1152"/>
              <a:gd name="connsiteX0" fmla="*/ 0 w 4763"/>
              <a:gd name="connsiteY0" fmla="*/ 0 h 2881"/>
              <a:gd name="connsiteX1" fmla="*/ 4724 w 4763"/>
              <a:gd name="connsiteY1" fmla="*/ 1729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93 w 4763"/>
              <a:gd name="connsiteY2" fmla="*/ 529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4724 w 4724"/>
              <a:gd name="connsiteY4" fmla="*/ 2344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93 w 4724"/>
              <a:gd name="connsiteY4" fmla="*/ 622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  <a:gd name="connsiteX0" fmla="*/ 0 w 4784"/>
              <a:gd name="connsiteY0" fmla="*/ 0 h 2881"/>
              <a:gd name="connsiteX1" fmla="*/ 4738 w 4784"/>
              <a:gd name="connsiteY1" fmla="*/ 1729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93 w 4784"/>
              <a:gd name="connsiteY2" fmla="*/ 529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4738 w 4738"/>
              <a:gd name="connsiteY4" fmla="*/ 2351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93 w 4738"/>
              <a:gd name="connsiteY4" fmla="*/ 622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9" h="1152">
                <a:moveTo>
                  <a:pt x="0" y="0"/>
                </a:moveTo>
                <a:lnTo>
                  <a:pt x="93" y="0"/>
                </a:lnTo>
                <a:lnTo>
                  <a:pt x="93" y="529"/>
                </a:lnTo>
                <a:lnTo>
                  <a:pt x="139" y="576"/>
                </a:lnTo>
                <a:lnTo>
                  <a:pt x="93" y="622"/>
                </a:lnTo>
                <a:lnTo>
                  <a:pt x="93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/>
            <a:endParaRPr lang="de-DE" sz="1600" dirty="0">
              <a:latin typeface="+mn-lt"/>
              <a:sym typeface="+mn-lt"/>
            </a:endParaRPr>
          </a:p>
        </p:txBody>
      </p:sp>
      <p:grpSp>
        <p:nvGrpSpPr>
          <p:cNvPr id="289" name="Flow" hidden="1">
            <a:extLst>
              <a:ext uri="{FF2B5EF4-FFF2-40B4-BE49-F238E27FC236}">
                <a16:creationId xmlns:a16="http://schemas.microsoft.com/office/drawing/2014/main" id="{15CD1487-2678-44E2-B5CC-49CEB35C48CB}"/>
              </a:ext>
            </a:extLst>
          </p:cNvPr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2902711" y="2369047"/>
            <a:ext cx="1578196" cy="789051"/>
            <a:chOff x="5905500" y="3124200"/>
            <a:chExt cx="1828800" cy="914400"/>
          </a:xfrm>
          <a:solidFill>
            <a:srgbClr val="DCB45A"/>
          </a:solidFill>
        </p:grpSpPr>
        <p:sp>
          <p:nvSpPr>
            <p:cNvPr id="290" name="Freeform 85">
              <a:extLst>
                <a:ext uri="{FF2B5EF4-FFF2-40B4-BE49-F238E27FC236}">
                  <a16:creationId xmlns:a16="http://schemas.microsoft.com/office/drawing/2014/main" id="{6EF94FCB-53EA-4797-A26F-EBE1A10BEA94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D66916BC-2C12-4199-9019-E1682114580E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 dirty="0"/>
                <a:t>Text</a:t>
              </a:r>
            </a:p>
          </p:txBody>
        </p:sp>
      </p:grpSp>
      <p:grpSp>
        <p:nvGrpSpPr>
          <p:cNvPr id="292" name="SplitFlow" hidden="1">
            <a:extLst>
              <a:ext uri="{FF2B5EF4-FFF2-40B4-BE49-F238E27FC236}">
                <a16:creationId xmlns:a16="http://schemas.microsoft.com/office/drawing/2014/main" id="{73A0864C-2FD8-4FCE-ACEB-DEE00BA7CF76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4632807" y="2369047"/>
            <a:ext cx="1578196" cy="789051"/>
            <a:chOff x="114300" y="1270000"/>
            <a:chExt cx="1828800" cy="914400"/>
          </a:xfrm>
          <a:solidFill>
            <a:srgbClr val="DCB45A"/>
          </a:solidFill>
        </p:grpSpPr>
        <p:sp>
          <p:nvSpPr>
            <p:cNvPr id="293" name="Freeform 88">
              <a:extLst>
                <a:ext uri="{FF2B5EF4-FFF2-40B4-BE49-F238E27FC236}">
                  <a16:creationId xmlns:a16="http://schemas.microsoft.com/office/drawing/2014/main" id="{7F450F19-2202-46C9-B60D-9542379B2702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15247FC2-B846-48EF-B0A5-0E1AC51708E7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77800" y="1327150"/>
              <a:ext cx="1524000" cy="336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 dirty="0"/>
                <a:t>Text</a:t>
              </a:r>
            </a:p>
          </p:txBody>
        </p:sp>
        <p:sp>
          <p:nvSpPr>
            <p:cNvPr id="295" name="Freeform 90">
              <a:extLst>
                <a:ext uri="{FF2B5EF4-FFF2-40B4-BE49-F238E27FC236}">
                  <a16:creationId xmlns:a16="http://schemas.microsoft.com/office/drawing/2014/main" id="{6901536F-391C-4721-9A47-FA9FDF2C8987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29AF8259-FE75-48B0-8B41-F897677AFE7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/>
                <a:t>Text</a:t>
              </a:r>
              <a:endParaRPr lang="de-DE" sz="1600" b="1" dirty="0"/>
            </a:p>
          </p:txBody>
        </p:sp>
      </p:grpSp>
      <p:sp>
        <p:nvSpPr>
          <p:cNvPr id="298" name="4. Footnote" hidden="1">
            <a:extLst>
              <a:ext uri="{FF2B5EF4-FFF2-40B4-BE49-F238E27FC236}">
                <a16:creationId xmlns:a16="http://schemas.microsoft.com/office/drawing/2014/main" id="{62A356C6-7F50-4D97-A742-34F98DCA181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64565" y="4668091"/>
            <a:ext cx="7001629" cy="123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088" indent="-65088">
              <a:defRPr/>
            </a:pPr>
            <a:r>
              <a:rPr lang="de-DE" sz="800" baseline="0" noProof="0" dirty="0">
                <a:latin typeface="+mn-lt"/>
              </a:rPr>
              <a:t>1 Fußnote</a:t>
            </a:r>
          </a:p>
        </p:txBody>
      </p:sp>
      <p:sp>
        <p:nvSpPr>
          <p:cNvPr id="299" name="5. Source" hidden="1">
            <a:extLst>
              <a:ext uri="{FF2B5EF4-FFF2-40B4-BE49-F238E27FC236}">
                <a16:creationId xmlns:a16="http://schemas.microsoft.com/office/drawing/2014/main" id="{344D905E-19C6-4CC0-B71D-D835FCD0BC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64565" y="4823720"/>
            <a:ext cx="7001629" cy="123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265113" indent="-265113" defTabSz="895350">
              <a:tabLst/>
            </a:pPr>
            <a:r>
              <a:rPr lang="de-DE" sz="800" baseline="0" noProof="0" dirty="0">
                <a:solidFill>
                  <a:srgbClr val="000000"/>
                </a:solidFill>
                <a:latin typeface="+mn-lt"/>
              </a:rPr>
              <a:t>Quelle: Quelle</a:t>
            </a:r>
          </a:p>
        </p:txBody>
      </p:sp>
      <p:sp>
        <p:nvSpPr>
          <p:cNvPr id="3" name="Working Draft" hidden="1">
            <a:extLst>
              <a:ext uri="{FF2B5EF4-FFF2-40B4-BE49-F238E27FC236}">
                <a16:creationId xmlns:a16="http://schemas.microsoft.com/office/drawing/2014/main" id="{9B42D628-F4E5-47CA-9A04-72780B0217F4}"/>
              </a:ext>
            </a:extLst>
          </p:cNvPr>
          <p:cNvSpPr txBox="1"/>
          <p:nvPr/>
        </p:nvSpPr>
        <p:spPr>
          <a:xfrm rot="5400000">
            <a:off x="7810500" y="2540000"/>
            <a:ext cx="254000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600">
                <a:solidFill>
                  <a:srgbClr val="808080"/>
                </a:solidFill>
              </a:rPr>
              <a:t>Last Modified 04.11.2019 15:32 W. Europe Standard Time</a:t>
            </a:r>
            <a:endParaRPr lang="de-DE" sz="600" dirty="0">
              <a:solidFill>
                <a:srgbClr val="808080"/>
              </a:solidFill>
            </a:endParaRPr>
          </a:p>
        </p:txBody>
      </p:sp>
      <p:sp>
        <p:nvSpPr>
          <p:cNvPr id="4" name="Printed" hidden="1">
            <a:extLst>
              <a:ext uri="{FF2B5EF4-FFF2-40B4-BE49-F238E27FC236}">
                <a16:creationId xmlns:a16="http://schemas.microsoft.com/office/drawing/2014/main" id="{1D8FBE25-24AF-4854-BD69-57D8EFD142E1}"/>
              </a:ext>
            </a:extLst>
          </p:cNvPr>
          <p:cNvSpPr txBox="1"/>
          <p:nvPr/>
        </p:nvSpPr>
        <p:spPr>
          <a:xfrm rot="5400000">
            <a:off x="8445500" y="4398834"/>
            <a:ext cx="1270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600">
                <a:solidFill>
                  <a:srgbClr val="808080"/>
                </a:solidFill>
              </a:rPr>
              <a:t>Printed 26.09.2019 11:46 W. Europe Standard Time</a:t>
            </a:r>
            <a:endParaRPr lang="de-DE" sz="6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040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</p:sldLayoutIdLst>
  <p:txStyles>
    <p:titleStyle>
      <a:lvl1pPr algn="l" defTabSz="671496" rtl="0" eaLnBrk="1" fontAlgn="base" hangingPunct="1">
        <a:spcBef>
          <a:spcPct val="0"/>
        </a:spcBef>
        <a:spcAft>
          <a:spcPct val="0"/>
        </a:spcAft>
        <a:tabLst>
          <a:tab pos="447675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2892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85783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28675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71566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–"/>
        <a:defRPr sz="160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600" baseline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–"/>
        <a:defRPr sz="1600" baseline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»"/>
        <a:defRPr sz="1600" baseline="0">
          <a:solidFill>
            <a:schemeClr val="tx1"/>
          </a:solidFill>
          <a:latin typeface="+mn-lt"/>
          <a:ea typeface="+mn-ea"/>
          <a:cs typeface="+mn-cs"/>
        </a:defRPr>
      </a:lvl5pPr>
      <a:lvl6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0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52359580"/>
              </p:ext>
            </p:extLst>
          </p:nvPr>
        </p:nvGraphicFramePr>
        <p:xfrm>
          <a:off x="0" y="2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2" name="Title Placeholder 2">
            <a:extLst>
              <a:ext uri="{FF2B5EF4-FFF2-40B4-BE49-F238E27FC236}">
                <a16:creationId xmlns:a16="http://schemas.microsoft.com/office/drawing/2014/main" id="{C63E4853-76DF-4E82-93F3-1C1797E6782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de-DE" noProof="0" dirty="0"/>
          </a:p>
        </p:txBody>
      </p:sp>
      <p:sp>
        <p:nvSpPr>
          <p:cNvPr id="231" name="Rectangle 286">
            <a:extLst>
              <a:ext uri="{FF2B5EF4-FFF2-40B4-BE49-F238E27FC236}">
                <a16:creationId xmlns:a16="http://schemas.microsoft.com/office/drawing/2014/main" id="{8BEF51BE-745D-4BFB-A1F7-632A88F4E56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487362" y="1944727"/>
            <a:ext cx="832855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grpSp>
        <p:nvGrpSpPr>
          <p:cNvPr id="233" name="ACET" hidden="1">
            <a:extLst>
              <a:ext uri="{FF2B5EF4-FFF2-40B4-BE49-F238E27FC236}">
                <a16:creationId xmlns:a16="http://schemas.microsoft.com/office/drawing/2014/main" id="{B7BFAA48-F233-4733-814D-2D34ADF8A94A}"/>
              </a:ext>
            </a:extLst>
          </p:cNvPr>
          <p:cNvGrpSpPr>
            <a:grpSpLocks/>
          </p:cNvGrpSpPr>
          <p:nvPr/>
        </p:nvGrpSpPr>
        <p:grpSpPr bwMode="gray">
          <a:xfrm>
            <a:off x="482332" y="1330760"/>
            <a:ext cx="4350892" cy="510219"/>
            <a:chOff x="915" y="715"/>
            <a:chExt cx="2686" cy="315"/>
          </a:xfrm>
        </p:grpSpPr>
        <p:cxnSp>
          <p:nvCxnSpPr>
            <p:cNvPr id="234" name="AutoShape 249">
              <a:extLst>
                <a:ext uri="{FF2B5EF4-FFF2-40B4-BE49-F238E27FC236}">
                  <a16:creationId xmlns:a16="http://schemas.microsoft.com/office/drawing/2014/main" id="{8E299325-0908-429A-A43C-864ABBC3BF0A}"/>
                </a:ext>
              </a:extLst>
            </p:cNvPr>
            <p:cNvCxnSpPr>
              <a:cxnSpLocks noChangeShapeType="1"/>
              <a:stCxn id="235" idx="4"/>
              <a:endCxn id="23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5" name="AutoShape 250">
              <a:extLst>
                <a:ext uri="{FF2B5EF4-FFF2-40B4-BE49-F238E27FC236}">
                  <a16:creationId xmlns:a16="http://schemas.microsoft.com/office/drawing/2014/main" id="{67326F4F-D049-4C75-8265-333792AFF1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de-D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de-DE" sz="1600" baseline="0" noProof="0" dirty="0">
                  <a:solidFill>
                    <a:schemeClr val="tx1"/>
                  </a:solidFill>
                  <a:latin typeface="+mn-lt"/>
                  <a:ea typeface="+mn-ea"/>
                </a:rPr>
                <a:t>Unit </a:t>
              </a:r>
              <a:r>
                <a:rPr lang="de-DE" sz="1600" baseline="0" noProof="0" dirty="0" err="1">
                  <a:solidFill>
                    <a:schemeClr val="tx1"/>
                  </a:solidFill>
                  <a:latin typeface="+mn-lt"/>
                  <a:ea typeface="+mn-ea"/>
                </a:rPr>
                <a:t>of</a:t>
              </a:r>
              <a:r>
                <a:rPr lang="de-DE" sz="1600" baseline="0" noProof="0" dirty="0">
                  <a:solidFill>
                    <a:schemeClr val="tx1"/>
                  </a:solidFill>
                  <a:latin typeface="+mn-lt"/>
                  <a:ea typeface="+mn-ea"/>
                </a:rPr>
                <a:t> </a:t>
              </a:r>
              <a:r>
                <a:rPr lang="de-DE" sz="1600" baseline="0" noProof="0" dirty="0" err="1">
                  <a:solidFill>
                    <a:schemeClr val="tx1"/>
                  </a:solidFill>
                  <a:latin typeface="+mn-lt"/>
                  <a:ea typeface="+mn-ea"/>
                </a:rPr>
                <a:t>measure</a:t>
              </a:r>
              <a:endParaRPr lang="de-DE" sz="1600" baseline="0" noProof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36" name="LegendBoxes" hidden="1">
            <a:extLst>
              <a:ext uri="{FF2B5EF4-FFF2-40B4-BE49-F238E27FC236}">
                <a16:creationId xmlns:a16="http://schemas.microsoft.com/office/drawing/2014/main" id="{178CE95F-AAA5-4233-B75E-5AC888A3C7E1}"/>
              </a:ext>
            </a:extLst>
          </p:cNvPr>
          <p:cNvGrpSpPr>
            <a:grpSpLocks/>
          </p:cNvGrpSpPr>
          <p:nvPr/>
        </p:nvGrpSpPr>
        <p:grpSpPr bwMode="gray">
          <a:xfrm>
            <a:off x="7957228" y="705842"/>
            <a:ext cx="853656" cy="1013962"/>
            <a:chOff x="4936" y="176"/>
            <a:chExt cx="527" cy="626"/>
          </a:xfrm>
        </p:grpSpPr>
        <p:sp>
          <p:nvSpPr>
            <p:cNvPr id="237" name="Legend1">
              <a:extLst>
                <a:ext uri="{FF2B5EF4-FFF2-40B4-BE49-F238E27FC236}">
                  <a16:creationId xmlns:a16="http://schemas.microsoft.com/office/drawing/2014/main" id="{FD2954D7-7A55-4DE6-BCB8-CEC5F455FF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38" name="LegendRectangle1">
              <a:extLst>
                <a:ext uri="{FF2B5EF4-FFF2-40B4-BE49-F238E27FC236}">
                  <a16:creationId xmlns:a16="http://schemas.microsoft.com/office/drawing/2014/main" id="{90715808-B60F-4060-87EB-A373BAF2A80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39" name="Legend2">
              <a:extLst>
                <a:ext uri="{FF2B5EF4-FFF2-40B4-BE49-F238E27FC236}">
                  <a16:creationId xmlns:a16="http://schemas.microsoft.com/office/drawing/2014/main" id="{3CED7A6B-0705-47FE-9498-42190C9FE2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34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0" name="LegendRectangle2">
              <a:extLst>
                <a:ext uri="{FF2B5EF4-FFF2-40B4-BE49-F238E27FC236}">
                  <a16:creationId xmlns:a16="http://schemas.microsoft.com/office/drawing/2014/main" id="{5D408D83-C3A2-4F29-B503-A5D73750E8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rgbClr val="72BF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1" name="Legend3">
              <a:extLst>
                <a:ext uri="{FF2B5EF4-FFF2-40B4-BE49-F238E27FC236}">
                  <a16:creationId xmlns:a16="http://schemas.microsoft.com/office/drawing/2014/main" id="{FE873619-EDEB-42C5-A3D6-186F6AAD54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517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2" name="LegendRectangle3">
              <a:extLst>
                <a:ext uri="{FF2B5EF4-FFF2-40B4-BE49-F238E27FC236}">
                  <a16:creationId xmlns:a16="http://schemas.microsoft.com/office/drawing/2014/main" id="{47C70F84-C2C7-46AE-B1AD-8CB46CCA9D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rgbClr val="55B47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3" name="Legend4">
              <a:extLst>
                <a:ext uri="{FF2B5EF4-FFF2-40B4-BE49-F238E27FC236}">
                  <a16:creationId xmlns:a16="http://schemas.microsoft.com/office/drawing/2014/main" id="{7B681804-DE82-4F59-8942-958206A6D77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688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4" name="LegendRectangle4">
              <a:extLst>
                <a:ext uri="{FF2B5EF4-FFF2-40B4-BE49-F238E27FC236}">
                  <a16:creationId xmlns:a16="http://schemas.microsoft.com/office/drawing/2014/main" id="{66D5DCF2-ADFF-434C-802C-80154CF4EE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3372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</p:grpSp>
      <p:grpSp>
        <p:nvGrpSpPr>
          <p:cNvPr id="245" name="LegendLines" hidden="1">
            <a:extLst>
              <a:ext uri="{FF2B5EF4-FFF2-40B4-BE49-F238E27FC236}">
                <a16:creationId xmlns:a16="http://schemas.microsoft.com/office/drawing/2014/main" id="{24DA7C49-012D-4BF4-801F-000B08FDB8DB}"/>
              </a:ext>
            </a:extLst>
          </p:cNvPr>
          <p:cNvGrpSpPr>
            <a:grpSpLocks/>
          </p:cNvGrpSpPr>
          <p:nvPr/>
        </p:nvGrpSpPr>
        <p:grpSpPr bwMode="gray">
          <a:xfrm>
            <a:off x="7642979" y="705842"/>
            <a:ext cx="1167905" cy="741845"/>
            <a:chOff x="4750" y="176"/>
            <a:chExt cx="721" cy="458"/>
          </a:xfrm>
        </p:grpSpPr>
        <p:sp>
          <p:nvSpPr>
            <p:cNvPr id="246" name="LineLegend1">
              <a:extLst>
                <a:ext uri="{FF2B5EF4-FFF2-40B4-BE49-F238E27FC236}">
                  <a16:creationId xmlns:a16="http://schemas.microsoft.com/office/drawing/2014/main" id="{39EA9B37-BBF4-4D0F-A898-3944E050EA7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7" name="LineLegend2">
              <a:extLst>
                <a:ext uri="{FF2B5EF4-FFF2-40B4-BE49-F238E27FC236}">
                  <a16:creationId xmlns:a16="http://schemas.microsoft.com/office/drawing/2014/main" id="{13E44DE0-4525-4A65-A81F-F5706439259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8" name="LineLegend3">
              <a:extLst>
                <a:ext uri="{FF2B5EF4-FFF2-40B4-BE49-F238E27FC236}">
                  <a16:creationId xmlns:a16="http://schemas.microsoft.com/office/drawing/2014/main" id="{725907F6-2295-40BF-9897-65CD68C1C5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9" name="Legend1">
              <a:extLst>
                <a:ext uri="{FF2B5EF4-FFF2-40B4-BE49-F238E27FC236}">
                  <a16:creationId xmlns:a16="http://schemas.microsoft.com/office/drawing/2014/main" id="{1179389F-A4CE-4774-8E4A-50248D83A7F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50" name="Legend2">
              <a:extLst>
                <a:ext uri="{FF2B5EF4-FFF2-40B4-BE49-F238E27FC236}">
                  <a16:creationId xmlns:a16="http://schemas.microsoft.com/office/drawing/2014/main" id="{AC0C0CD9-FE01-4C39-A802-1D682AF4108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344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51" name="Legend3">
              <a:extLst>
                <a:ext uri="{FF2B5EF4-FFF2-40B4-BE49-F238E27FC236}">
                  <a16:creationId xmlns:a16="http://schemas.microsoft.com/office/drawing/2014/main" id="{ABDC7ADA-5CF9-473B-900E-C762DB2F0BE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520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</p:grpSp>
      <p:grpSp>
        <p:nvGrpSpPr>
          <p:cNvPr id="252" name="Sticker" hidden="1">
            <a:extLst>
              <a:ext uri="{FF2B5EF4-FFF2-40B4-BE49-F238E27FC236}">
                <a16:creationId xmlns:a16="http://schemas.microsoft.com/office/drawing/2014/main" id="{58CB69B6-A04E-4A58-885B-DC1A5C4FD9AB}"/>
              </a:ext>
            </a:extLst>
          </p:cNvPr>
          <p:cNvGrpSpPr/>
          <p:nvPr/>
        </p:nvGrpSpPr>
        <p:grpSpPr bwMode="gray">
          <a:xfrm>
            <a:off x="8236497" y="705842"/>
            <a:ext cx="574388" cy="241447"/>
            <a:chOff x="8177855" y="288153"/>
            <a:chExt cx="562920" cy="236641"/>
          </a:xfrm>
        </p:grpSpPr>
        <p:sp>
          <p:nvSpPr>
            <p:cNvPr id="253" name="StickerRectangle">
              <a:extLst>
                <a:ext uri="{FF2B5EF4-FFF2-40B4-BE49-F238E27FC236}">
                  <a16:creationId xmlns:a16="http://schemas.microsoft.com/office/drawing/2014/main" id="{87F0D757-2513-4B38-AD13-A0152E1636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7855" y="288153"/>
              <a:ext cx="562920" cy="2366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20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254" name="AutoShape 32">
              <a:extLst>
                <a:ext uri="{FF2B5EF4-FFF2-40B4-BE49-F238E27FC236}">
                  <a16:creationId xmlns:a16="http://schemas.microsoft.com/office/drawing/2014/main" id="{1398B4D7-125F-4DF8-BA27-26E0F99AAEA8}"/>
                </a:ext>
              </a:extLst>
            </p:cNvPr>
            <p:cNvCxnSpPr>
              <a:cxnSpLocks noChangeShapeType="1"/>
              <a:stCxn id="253" idx="4"/>
              <a:endCxn id="253" idx="6"/>
            </p:cNvCxnSpPr>
            <p:nvPr/>
          </p:nvCxnSpPr>
          <p:spPr bwMode="gray">
            <a:xfrm>
              <a:off x="8177855" y="524794"/>
              <a:ext cx="56292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5" name="AutoShape 32">
              <a:extLst>
                <a:ext uri="{FF2B5EF4-FFF2-40B4-BE49-F238E27FC236}">
                  <a16:creationId xmlns:a16="http://schemas.microsoft.com/office/drawing/2014/main" id="{FBF6EE8C-ACDF-405C-BDA6-C5AECD90CF66}"/>
                </a:ext>
              </a:extLst>
            </p:cNvPr>
            <p:cNvCxnSpPr>
              <a:cxnSpLocks noChangeShapeType="1"/>
              <a:stCxn id="253" idx="2"/>
              <a:endCxn id="253" idx="0"/>
            </p:cNvCxnSpPr>
            <p:nvPr userDrawn="1"/>
          </p:nvCxnSpPr>
          <p:spPr bwMode="gray">
            <a:xfrm>
              <a:off x="8177855" y="288153"/>
              <a:ext cx="56292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6" name="LegendMoons" hidden="1">
            <a:extLst>
              <a:ext uri="{FF2B5EF4-FFF2-40B4-BE49-F238E27FC236}">
                <a16:creationId xmlns:a16="http://schemas.microsoft.com/office/drawing/2014/main" id="{B9FD1467-C9BF-4995-943B-942940CE1C92}"/>
              </a:ext>
            </a:extLst>
          </p:cNvPr>
          <p:cNvGrpSpPr/>
          <p:nvPr/>
        </p:nvGrpSpPr>
        <p:grpSpPr bwMode="gray">
          <a:xfrm>
            <a:off x="7876846" y="705842"/>
            <a:ext cx="934038" cy="1333054"/>
            <a:chOff x="7769225" y="2105025"/>
            <a:chExt cx="915390" cy="1306516"/>
          </a:xfrm>
        </p:grpSpPr>
        <p:grpSp>
          <p:nvGrpSpPr>
            <p:cNvPr id="257" name="MoonLegend1">
              <a:extLst>
                <a:ext uri="{FF2B5EF4-FFF2-40B4-BE49-F238E27FC236}">
                  <a16:creationId xmlns:a16="http://schemas.microsoft.com/office/drawing/2014/main" id="{C141AADD-6EF5-408C-B89C-6998065C081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275" name="Oval 38">
                <a:extLst>
                  <a:ext uri="{FF2B5EF4-FFF2-40B4-BE49-F238E27FC236}">
                    <a16:creationId xmlns:a16="http://schemas.microsoft.com/office/drawing/2014/main" id="{69F302F8-5305-4F34-85E9-4FB421CBB9B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6" name="Arc 39">
                <a:extLst>
                  <a:ext uri="{FF2B5EF4-FFF2-40B4-BE49-F238E27FC236}">
                    <a16:creationId xmlns:a16="http://schemas.microsoft.com/office/drawing/2014/main" id="{2EF6E64B-E9EB-494C-83FB-007E7FB142AA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58" name="MoonLegend2">
              <a:extLst>
                <a:ext uri="{FF2B5EF4-FFF2-40B4-BE49-F238E27FC236}">
                  <a16:creationId xmlns:a16="http://schemas.microsoft.com/office/drawing/2014/main" id="{F7B87BFA-761F-4BD1-A15C-344C48FC3B7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273" name="Oval 41">
                <a:extLst>
                  <a:ext uri="{FF2B5EF4-FFF2-40B4-BE49-F238E27FC236}">
                    <a16:creationId xmlns:a16="http://schemas.microsoft.com/office/drawing/2014/main" id="{61C3042E-6EAD-4A35-A7E4-C59B18A3EBF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4" name="Arc 42">
                <a:extLst>
                  <a:ext uri="{FF2B5EF4-FFF2-40B4-BE49-F238E27FC236}">
                    <a16:creationId xmlns:a16="http://schemas.microsoft.com/office/drawing/2014/main" id="{4F3D0221-B283-4579-B397-F5330A0014C2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59" name="MoonLegend4">
              <a:extLst>
                <a:ext uri="{FF2B5EF4-FFF2-40B4-BE49-F238E27FC236}">
                  <a16:creationId xmlns:a16="http://schemas.microsoft.com/office/drawing/2014/main" id="{BCCCD0D1-32E8-4A48-8135-0E58019CDAE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271" name="Oval 47">
                <a:extLst>
                  <a:ext uri="{FF2B5EF4-FFF2-40B4-BE49-F238E27FC236}">
                    <a16:creationId xmlns:a16="http://schemas.microsoft.com/office/drawing/2014/main" id="{4624F1EA-8FBC-451A-965F-7D43D249C0F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2" name="Arc 48">
                <a:extLst>
                  <a:ext uri="{FF2B5EF4-FFF2-40B4-BE49-F238E27FC236}">
                    <a16:creationId xmlns:a16="http://schemas.microsoft.com/office/drawing/2014/main" id="{A2A90D3D-76A7-49E1-B27E-ABC461AF523A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60" name="MoonLegend5">
              <a:extLst>
                <a:ext uri="{FF2B5EF4-FFF2-40B4-BE49-F238E27FC236}">
                  <a16:creationId xmlns:a16="http://schemas.microsoft.com/office/drawing/2014/main" id="{C118DC04-4F9D-45EE-B5B2-78B7A6E9771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269" name="Oval 50">
                <a:extLst>
                  <a:ext uri="{FF2B5EF4-FFF2-40B4-BE49-F238E27FC236}">
                    <a16:creationId xmlns:a16="http://schemas.microsoft.com/office/drawing/2014/main" id="{CC3F96B2-DF3D-46E4-907E-D1AA42E4B3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0" name="Oval 51">
                <a:extLst>
                  <a:ext uri="{FF2B5EF4-FFF2-40B4-BE49-F238E27FC236}">
                    <a16:creationId xmlns:a16="http://schemas.microsoft.com/office/drawing/2014/main" id="{E8759416-6C68-42C6-8D9F-1C892B3645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sp>
          <p:nvSpPr>
            <p:cNvPr id="261" name="Legend1">
              <a:extLst>
                <a:ext uri="{FF2B5EF4-FFF2-40B4-BE49-F238E27FC236}">
                  <a16:creationId xmlns:a16="http://schemas.microsoft.com/office/drawing/2014/main" id="{F9B455C1-E854-4256-BCEA-F3B06E26D91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117467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2" name="Legend2">
              <a:extLst>
                <a:ext uri="{FF2B5EF4-FFF2-40B4-BE49-F238E27FC236}">
                  <a16:creationId xmlns:a16="http://schemas.microsoft.com/office/drawing/2014/main" id="{7D5A9FB9-F434-4D96-BAF5-0E11046E2C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392363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3" name="Legend3">
              <a:extLst>
                <a:ext uri="{FF2B5EF4-FFF2-40B4-BE49-F238E27FC236}">
                  <a16:creationId xmlns:a16="http://schemas.microsoft.com/office/drawing/2014/main" id="{A246E890-13DF-4A0E-A9B8-A144B6F04E2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67002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4" name="Legend4">
              <a:extLst>
                <a:ext uri="{FF2B5EF4-FFF2-40B4-BE49-F238E27FC236}">
                  <a16:creationId xmlns:a16="http://schemas.microsoft.com/office/drawing/2014/main" id="{D1E040E8-71E3-4836-A062-B8120447C8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938465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5" name="Legend5">
              <a:extLst>
                <a:ext uri="{FF2B5EF4-FFF2-40B4-BE49-F238E27FC236}">
                  <a16:creationId xmlns:a16="http://schemas.microsoft.com/office/drawing/2014/main" id="{50240907-172D-4753-91C9-80D0DA5159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3214690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grpSp>
          <p:nvGrpSpPr>
            <p:cNvPr id="266" name="MoonLegend3">
              <a:extLst>
                <a:ext uri="{FF2B5EF4-FFF2-40B4-BE49-F238E27FC236}">
                  <a16:creationId xmlns:a16="http://schemas.microsoft.com/office/drawing/2014/main" id="{734B19B6-EAB3-4182-A4D2-294E2B0914A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267" name="Oval 47">
                <a:extLst>
                  <a:ext uri="{FF2B5EF4-FFF2-40B4-BE49-F238E27FC236}">
                    <a16:creationId xmlns:a16="http://schemas.microsoft.com/office/drawing/2014/main" id="{4ED7ADEC-CA19-4A94-AECD-EAB2A6BEB1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68" name="Arc 48">
                <a:extLst>
                  <a:ext uri="{FF2B5EF4-FFF2-40B4-BE49-F238E27FC236}">
                    <a16:creationId xmlns:a16="http://schemas.microsoft.com/office/drawing/2014/main" id="{E4E23CA7-BF4B-4C0F-BC49-209BD8CC9824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</p:grpSp>
      <p:sp>
        <p:nvSpPr>
          <p:cNvPr id="277" name="pg number">
            <a:extLst>
              <a:ext uri="{FF2B5EF4-FFF2-40B4-BE49-F238E27FC236}">
                <a16:creationId xmlns:a16="http://schemas.microsoft.com/office/drawing/2014/main" id="{2643CF11-ED9A-4B78-866C-85C18685F107}"/>
              </a:ext>
            </a:extLst>
          </p:cNvPr>
          <p:cNvSpPr>
            <a:spLocks/>
          </p:cNvSpPr>
          <p:nvPr/>
        </p:nvSpPr>
        <p:spPr bwMode="gray">
          <a:xfrm>
            <a:off x="8546388" y="4854488"/>
            <a:ext cx="264496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r>
              <a:rPr lang="de-DE" sz="600" noProof="0" dirty="0">
                <a:solidFill>
                  <a:srgbClr val="898989"/>
                </a:solidFill>
                <a:latin typeface="+mn-lt"/>
              </a:rPr>
              <a:t>Seite </a:t>
            </a:r>
            <a:fld id="{42C328C1-A84F-4A39-A664-DBA00541A8C6}" type="slidenum">
              <a:rPr lang="de-DE" sz="600" noProof="0" smtClean="0">
                <a:solidFill>
                  <a:srgbClr val="898989"/>
                </a:solidFill>
                <a:latin typeface="+mn-lt"/>
              </a:rPr>
              <a:pPr lvl="0" algn="r"/>
              <a:t>‹Nr.›</a:t>
            </a:fld>
            <a:endParaRPr lang="de-DE" sz="600" baseline="0" noProof="0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278" name="3. Unit of measure" hidden="1">
            <a:extLst>
              <a:ext uri="{FF2B5EF4-FFF2-40B4-BE49-F238E27FC236}">
                <a16:creationId xmlns:a16="http://schemas.microsoft.com/office/drawing/2014/main" id="{C1C5E9FC-6DFB-4661-BBC8-BFE79A2A891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2332" y="705842"/>
            <a:ext cx="832855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447675" algn="l"/>
              </a:tabLst>
              <a:defRPr/>
            </a:pPr>
            <a:r>
              <a:rPr lang="de-DE" sz="1600" baseline="0" noProof="0">
                <a:solidFill>
                  <a:schemeClr val="tx1"/>
                </a:solidFill>
                <a:latin typeface="+mn-lt"/>
              </a:rPr>
              <a:t>Subtitle</a:t>
            </a:r>
            <a:endParaRPr lang="de-DE" sz="1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79" name="1. On-page tracker" hidden="1">
            <a:extLst>
              <a:ext uri="{FF2B5EF4-FFF2-40B4-BE49-F238E27FC236}">
                <a16:creationId xmlns:a16="http://schemas.microsoft.com/office/drawing/2014/main" id="{F2397FCC-58BD-48D6-B195-C27C77AD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2332" y="39933"/>
            <a:ext cx="6253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447675" algn="l"/>
              </a:tabLst>
            </a:pPr>
            <a:r>
              <a:rPr lang="de-DE" sz="1200" cap="all" baseline="0" dirty="0" err="1">
                <a:latin typeface="+mn-lt"/>
                <a:ea typeface="+mj-ea"/>
              </a:rPr>
              <a:t>TRACKER</a:t>
            </a:r>
            <a:endParaRPr lang="de-DE" sz="1200" cap="all" baseline="0" dirty="0">
              <a:latin typeface="+mn-lt"/>
              <a:ea typeface="+mj-ea"/>
            </a:endParaRPr>
          </a:p>
        </p:txBody>
      </p:sp>
      <p:grpSp>
        <p:nvGrpSpPr>
          <p:cNvPr id="286" name="Moon" hidden="1">
            <a:extLst>
              <a:ext uri="{FF2B5EF4-FFF2-40B4-BE49-F238E27FC236}">
                <a16:creationId xmlns:a16="http://schemas.microsoft.com/office/drawing/2014/main" id="{63BC6243-1F52-45E4-A894-40C9C2856252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8551710" y="2916674"/>
            <a:ext cx="259174" cy="259159"/>
            <a:chOff x="762000" y="1270000"/>
            <a:chExt cx="254000" cy="25400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225CDC12-613F-4CBC-BA3D-52A937C7198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88" name="Arc 287">
              <a:extLst>
                <a:ext uri="{FF2B5EF4-FFF2-40B4-BE49-F238E27FC236}">
                  <a16:creationId xmlns:a16="http://schemas.microsoft.com/office/drawing/2014/main" id="{0CD8258A-FCA7-4622-8D5B-8324DA89B6E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rgbClr val="337299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/>
              <a:endParaRPr lang="de-DE" sz="1200" dirty="0"/>
            </a:p>
          </p:txBody>
        </p:sp>
      </p:grpSp>
      <p:sp>
        <p:nvSpPr>
          <p:cNvPr id="280" name="Oval" hidden="1">
            <a:extLst>
              <a:ext uri="{FF2B5EF4-FFF2-40B4-BE49-F238E27FC236}">
                <a16:creationId xmlns:a16="http://schemas.microsoft.com/office/drawing/2014/main" id="{AAEEEC64-41F4-49EB-BDB4-5F1FABDE832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766479" y="933724"/>
            <a:ext cx="1315163" cy="1315086"/>
          </a:xfrm>
          <a:prstGeom prst="ellipse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 algn="ctr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1" name="Rectangle" hidden="1">
            <a:extLst>
              <a:ext uri="{FF2B5EF4-FFF2-40B4-BE49-F238E27FC236}">
                <a16:creationId xmlns:a16="http://schemas.microsoft.com/office/drawing/2014/main" id="{2D6C430B-CBFD-49DE-8C43-0F367B21845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902711" y="933724"/>
            <a:ext cx="1315163" cy="1315086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2" name="RoundedRectangle" hidden="1">
            <a:extLst>
              <a:ext uri="{FF2B5EF4-FFF2-40B4-BE49-F238E27FC236}">
                <a16:creationId xmlns:a16="http://schemas.microsoft.com/office/drawing/2014/main" id="{74017F43-6896-4287-B25A-3224B3092F0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334595" y="933724"/>
            <a:ext cx="1315163" cy="1315086"/>
          </a:xfrm>
          <a:prstGeom prst="round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3" name="Arrow" hidden="1">
            <a:extLst>
              <a:ext uri="{FF2B5EF4-FFF2-40B4-BE49-F238E27FC236}">
                <a16:creationId xmlns:a16="http://schemas.microsoft.com/office/drawing/2014/main" id="{1661818F-9796-4568-A871-51F991C8038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900816" y="3278336"/>
            <a:ext cx="1578196" cy="789051"/>
          </a:xfrm>
          <a:prstGeom prst="rightArrow">
            <a:avLst>
              <a:gd name="adj1" fmla="val 54000"/>
              <a:gd name="adj2" fmla="val 37678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4" name="DirArrow" hidden="1">
            <a:extLst>
              <a:ext uri="{FF2B5EF4-FFF2-40B4-BE49-F238E27FC236}">
                <a16:creationId xmlns:a16="http://schemas.microsoft.com/office/drawing/2014/main" id="{158966D4-0635-4754-AC79-5C17C8C1D032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6013042" y="2119046"/>
            <a:ext cx="2666994" cy="296350"/>
          </a:xfrm>
          <a:prstGeom prst="triangle">
            <a:avLst>
              <a:gd name="adj" fmla="val 50000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/>
            <a:endParaRPr lang="de-DE" sz="1600" dirty="0">
              <a:latin typeface="+mn-lt"/>
              <a:sym typeface="+mn-lt"/>
            </a:endParaRPr>
          </a:p>
        </p:txBody>
      </p:sp>
      <p:sp>
        <p:nvSpPr>
          <p:cNvPr id="285" name="Bracket" hidden="1">
            <a:extLst>
              <a:ext uri="{FF2B5EF4-FFF2-40B4-BE49-F238E27FC236}">
                <a16:creationId xmlns:a16="http://schemas.microsoft.com/office/drawing/2014/main" id="{5FCCB044-E9BF-430D-A825-D3CC24041CA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362902" y="2369047"/>
            <a:ext cx="190425" cy="157810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868"/>
              <a:gd name="connsiteY0" fmla="*/ 0 h 3282"/>
              <a:gd name="connsiteX1" fmla="*/ 3818 w 3868"/>
              <a:gd name="connsiteY1" fmla="*/ 213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79 w 3868"/>
              <a:gd name="connsiteY2" fmla="*/ 537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3818 w 3818"/>
              <a:gd name="connsiteY4" fmla="*/ 2754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79 w 3818"/>
              <a:gd name="connsiteY4" fmla="*/ 615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753"/>
              <a:gd name="connsiteY0" fmla="*/ 0 h 3282"/>
              <a:gd name="connsiteX1" fmla="*/ 79 w 3753"/>
              <a:gd name="connsiteY1" fmla="*/ 0 h 3282"/>
              <a:gd name="connsiteX2" fmla="*/ 79 w 3753"/>
              <a:gd name="connsiteY2" fmla="*/ 537 h 3282"/>
              <a:gd name="connsiteX3" fmla="*/ 118 w 3753"/>
              <a:gd name="connsiteY3" fmla="*/ 576 h 3282"/>
              <a:gd name="connsiteX4" fmla="*/ 79 w 3753"/>
              <a:gd name="connsiteY4" fmla="*/ 615 h 3282"/>
              <a:gd name="connsiteX5" fmla="*/ 79 w 3753"/>
              <a:gd name="connsiteY5" fmla="*/ 1152 h 3282"/>
              <a:gd name="connsiteX6" fmla="*/ 3753 w 3753"/>
              <a:gd name="connsiteY6" fmla="*/ 3282 h 3282"/>
              <a:gd name="connsiteX0" fmla="*/ 0 w 118"/>
              <a:gd name="connsiteY0" fmla="*/ 0 h 1152"/>
              <a:gd name="connsiteX1" fmla="*/ 79 w 118"/>
              <a:gd name="connsiteY1" fmla="*/ 0 h 1152"/>
              <a:gd name="connsiteX2" fmla="*/ 79 w 118"/>
              <a:gd name="connsiteY2" fmla="*/ 537 h 1152"/>
              <a:gd name="connsiteX3" fmla="*/ 118 w 118"/>
              <a:gd name="connsiteY3" fmla="*/ 576 h 1152"/>
              <a:gd name="connsiteX4" fmla="*/ 79 w 118"/>
              <a:gd name="connsiteY4" fmla="*/ 615 h 1152"/>
              <a:gd name="connsiteX5" fmla="*/ 79 w 118"/>
              <a:gd name="connsiteY5" fmla="*/ 1152 h 1152"/>
              <a:gd name="connsiteX6" fmla="*/ 0 w 118"/>
              <a:gd name="connsiteY6" fmla="*/ 1152 h 1152"/>
              <a:gd name="connsiteX0" fmla="*/ 0 w 4763"/>
              <a:gd name="connsiteY0" fmla="*/ 0 h 2881"/>
              <a:gd name="connsiteX1" fmla="*/ 4724 w 4763"/>
              <a:gd name="connsiteY1" fmla="*/ 1729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93 w 4763"/>
              <a:gd name="connsiteY2" fmla="*/ 529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4724 w 4724"/>
              <a:gd name="connsiteY4" fmla="*/ 2344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93 w 4724"/>
              <a:gd name="connsiteY4" fmla="*/ 622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  <a:gd name="connsiteX0" fmla="*/ 0 w 4784"/>
              <a:gd name="connsiteY0" fmla="*/ 0 h 2881"/>
              <a:gd name="connsiteX1" fmla="*/ 4738 w 4784"/>
              <a:gd name="connsiteY1" fmla="*/ 1729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93 w 4784"/>
              <a:gd name="connsiteY2" fmla="*/ 529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4738 w 4738"/>
              <a:gd name="connsiteY4" fmla="*/ 2351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93 w 4738"/>
              <a:gd name="connsiteY4" fmla="*/ 622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9" h="1152">
                <a:moveTo>
                  <a:pt x="0" y="0"/>
                </a:moveTo>
                <a:lnTo>
                  <a:pt x="93" y="0"/>
                </a:lnTo>
                <a:lnTo>
                  <a:pt x="93" y="529"/>
                </a:lnTo>
                <a:lnTo>
                  <a:pt x="139" y="576"/>
                </a:lnTo>
                <a:lnTo>
                  <a:pt x="93" y="622"/>
                </a:lnTo>
                <a:lnTo>
                  <a:pt x="93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/>
            <a:endParaRPr lang="de-DE" sz="1600" dirty="0">
              <a:latin typeface="+mn-lt"/>
              <a:sym typeface="+mn-lt"/>
            </a:endParaRPr>
          </a:p>
        </p:txBody>
      </p:sp>
      <p:grpSp>
        <p:nvGrpSpPr>
          <p:cNvPr id="289" name="Flow" hidden="1">
            <a:extLst>
              <a:ext uri="{FF2B5EF4-FFF2-40B4-BE49-F238E27FC236}">
                <a16:creationId xmlns:a16="http://schemas.microsoft.com/office/drawing/2014/main" id="{15CD1487-2678-44E2-B5CC-49CEB35C48CB}"/>
              </a:ext>
            </a:extLst>
          </p:cNvPr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2902711" y="2369047"/>
            <a:ext cx="1578196" cy="789051"/>
            <a:chOff x="5905500" y="3124200"/>
            <a:chExt cx="1828800" cy="914400"/>
          </a:xfrm>
          <a:solidFill>
            <a:srgbClr val="DCB45A"/>
          </a:solidFill>
        </p:grpSpPr>
        <p:sp>
          <p:nvSpPr>
            <p:cNvPr id="290" name="Freeform 85">
              <a:extLst>
                <a:ext uri="{FF2B5EF4-FFF2-40B4-BE49-F238E27FC236}">
                  <a16:creationId xmlns:a16="http://schemas.microsoft.com/office/drawing/2014/main" id="{6EF94FCB-53EA-4797-A26F-EBE1A10BEA94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D66916BC-2C12-4199-9019-E1682114580E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 dirty="0"/>
                <a:t>Text</a:t>
              </a:r>
            </a:p>
          </p:txBody>
        </p:sp>
      </p:grpSp>
      <p:grpSp>
        <p:nvGrpSpPr>
          <p:cNvPr id="292" name="SplitFlow" hidden="1">
            <a:extLst>
              <a:ext uri="{FF2B5EF4-FFF2-40B4-BE49-F238E27FC236}">
                <a16:creationId xmlns:a16="http://schemas.microsoft.com/office/drawing/2014/main" id="{73A0864C-2FD8-4FCE-ACEB-DEE00BA7CF76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4632807" y="2369047"/>
            <a:ext cx="1578196" cy="789051"/>
            <a:chOff x="114300" y="1270000"/>
            <a:chExt cx="1828800" cy="914400"/>
          </a:xfrm>
          <a:solidFill>
            <a:srgbClr val="DCB45A"/>
          </a:solidFill>
        </p:grpSpPr>
        <p:sp>
          <p:nvSpPr>
            <p:cNvPr id="293" name="Freeform 88">
              <a:extLst>
                <a:ext uri="{FF2B5EF4-FFF2-40B4-BE49-F238E27FC236}">
                  <a16:creationId xmlns:a16="http://schemas.microsoft.com/office/drawing/2014/main" id="{7F450F19-2202-46C9-B60D-9542379B2702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15247FC2-B846-48EF-B0A5-0E1AC51708E7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77800" y="1327150"/>
              <a:ext cx="1524000" cy="336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 dirty="0"/>
                <a:t>Text</a:t>
              </a:r>
            </a:p>
          </p:txBody>
        </p:sp>
        <p:sp>
          <p:nvSpPr>
            <p:cNvPr id="295" name="Freeform 90">
              <a:extLst>
                <a:ext uri="{FF2B5EF4-FFF2-40B4-BE49-F238E27FC236}">
                  <a16:creationId xmlns:a16="http://schemas.microsoft.com/office/drawing/2014/main" id="{6901536F-391C-4721-9A47-FA9FDF2C8987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29AF8259-FE75-48B0-8B41-F897677AFE7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/>
                <a:t>Text</a:t>
              </a:r>
              <a:endParaRPr lang="de-DE" sz="1600" b="1" dirty="0"/>
            </a:p>
          </p:txBody>
        </p:sp>
      </p:grpSp>
      <p:sp>
        <p:nvSpPr>
          <p:cNvPr id="298" name="4. Footnote" hidden="1">
            <a:extLst>
              <a:ext uri="{FF2B5EF4-FFF2-40B4-BE49-F238E27FC236}">
                <a16:creationId xmlns:a16="http://schemas.microsoft.com/office/drawing/2014/main" id="{62A356C6-7F50-4D97-A742-34F98DCA181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64565" y="4668091"/>
            <a:ext cx="7001629" cy="123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088" indent="-65088">
              <a:defRPr/>
            </a:pPr>
            <a:r>
              <a:rPr lang="de-DE" sz="800" baseline="0" noProof="0" dirty="0">
                <a:latin typeface="+mn-lt"/>
              </a:rPr>
              <a:t>1 Fußnote</a:t>
            </a:r>
          </a:p>
        </p:txBody>
      </p:sp>
      <p:sp>
        <p:nvSpPr>
          <p:cNvPr id="299" name="5. Source" hidden="1">
            <a:extLst>
              <a:ext uri="{FF2B5EF4-FFF2-40B4-BE49-F238E27FC236}">
                <a16:creationId xmlns:a16="http://schemas.microsoft.com/office/drawing/2014/main" id="{344D905E-19C6-4CC0-B71D-D835FCD0BC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64565" y="4823720"/>
            <a:ext cx="7001629" cy="123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265113" indent="-265113" defTabSz="895350">
              <a:tabLst/>
            </a:pPr>
            <a:r>
              <a:rPr lang="de-DE" sz="800" baseline="0" noProof="0" dirty="0">
                <a:solidFill>
                  <a:srgbClr val="000000"/>
                </a:solidFill>
                <a:latin typeface="+mn-lt"/>
              </a:rPr>
              <a:t>Quelle: Quelle</a:t>
            </a:r>
          </a:p>
        </p:txBody>
      </p:sp>
      <p:sp>
        <p:nvSpPr>
          <p:cNvPr id="3" name="Working Draft" hidden="1">
            <a:extLst>
              <a:ext uri="{FF2B5EF4-FFF2-40B4-BE49-F238E27FC236}">
                <a16:creationId xmlns:a16="http://schemas.microsoft.com/office/drawing/2014/main" id="{3C90607E-BEC4-4014-A35A-874262953D52}"/>
              </a:ext>
            </a:extLst>
          </p:cNvPr>
          <p:cNvSpPr txBox="1"/>
          <p:nvPr/>
        </p:nvSpPr>
        <p:spPr>
          <a:xfrm rot="5400000">
            <a:off x="7810500" y="2540000"/>
            <a:ext cx="254000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600">
                <a:solidFill>
                  <a:srgbClr val="808080"/>
                </a:solidFill>
              </a:rPr>
              <a:t>Last Modified 04.11.2019 15:32 W. Europe Standard Time</a:t>
            </a:r>
            <a:endParaRPr lang="de-DE" sz="600" dirty="0">
              <a:solidFill>
                <a:srgbClr val="808080"/>
              </a:solidFill>
            </a:endParaRPr>
          </a:p>
        </p:txBody>
      </p:sp>
      <p:sp>
        <p:nvSpPr>
          <p:cNvPr id="4" name="Printed" hidden="1">
            <a:extLst>
              <a:ext uri="{FF2B5EF4-FFF2-40B4-BE49-F238E27FC236}">
                <a16:creationId xmlns:a16="http://schemas.microsoft.com/office/drawing/2014/main" id="{0092808F-E405-4331-B3A3-32EA8D270DD4}"/>
              </a:ext>
            </a:extLst>
          </p:cNvPr>
          <p:cNvSpPr txBox="1"/>
          <p:nvPr/>
        </p:nvSpPr>
        <p:spPr>
          <a:xfrm rot="5400000">
            <a:off x="8445500" y="4398834"/>
            <a:ext cx="1270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600">
                <a:solidFill>
                  <a:srgbClr val="808080"/>
                </a:solidFill>
              </a:rPr>
              <a:t>Printed 26.09.2019 11:46 W. Europe Standard Time</a:t>
            </a:r>
            <a:endParaRPr lang="de-DE" sz="6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2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p:txStyles>
    <p:titleStyle>
      <a:lvl1pPr algn="l" defTabSz="671496" rtl="0" eaLnBrk="1" fontAlgn="base" hangingPunct="1">
        <a:spcBef>
          <a:spcPct val="0"/>
        </a:spcBef>
        <a:spcAft>
          <a:spcPct val="0"/>
        </a:spcAft>
        <a:tabLst>
          <a:tab pos="447675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2892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85783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28675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71566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–"/>
        <a:defRPr sz="160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600" baseline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–"/>
        <a:defRPr sz="1600" baseline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»"/>
        <a:defRPr sz="1600" baseline="0">
          <a:solidFill>
            <a:schemeClr val="tx1"/>
          </a:solidFill>
          <a:latin typeface="+mn-lt"/>
          <a:ea typeface="+mn-ea"/>
          <a:cs typeface="+mn-cs"/>
        </a:defRPr>
      </a:lvl5pPr>
      <a:lvl6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0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992660830"/>
              </p:ext>
            </p:extLst>
          </p:nvPr>
        </p:nvGraphicFramePr>
        <p:xfrm>
          <a:off x="0" y="2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0" y="2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2" name="Title Placeholder 2">
            <a:extLst>
              <a:ext uri="{FF2B5EF4-FFF2-40B4-BE49-F238E27FC236}">
                <a16:creationId xmlns:a16="http://schemas.microsoft.com/office/drawing/2014/main" id="{C63E4853-76DF-4E82-93F3-1C1797E6782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de-DE" noProof="0" dirty="0"/>
          </a:p>
        </p:txBody>
      </p:sp>
      <p:sp>
        <p:nvSpPr>
          <p:cNvPr id="231" name="Rectangle 286">
            <a:extLst>
              <a:ext uri="{FF2B5EF4-FFF2-40B4-BE49-F238E27FC236}">
                <a16:creationId xmlns:a16="http://schemas.microsoft.com/office/drawing/2014/main" id="{8BEF51BE-745D-4BFB-A1F7-632A88F4E56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487362" y="1944727"/>
            <a:ext cx="832855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de-DE" noProof="0" dirty="0"/>
          </a:p>
        </p:txBody>
      </p:sp>
      <p:grpSp>
        <p:nvGrpSpPr>
          <p:cNvPr id="233" name="ACET" hidden="1">
            <a:extLst>
              <a:ext uri="{FF2B5EF4-FFF2-40B4-BE49-F238E27FC236}">
                <a16:creationId xmlns:a16="http://schemas.microsoft.com/office/drawing/2014/main" id="{B7BFAA48-F233-4733-814D-2D34ADF8A94A}"/>
              </a:ext>
            </a:extLst>
          </p:cNvPr>
          <p:cNvGrpSpPr>
            <a:grpSpLocks/>
          </p:cNvGrpSpPr>
          <p:nvPr/>
        </p:nvGrpSpPr>
        <p:grpSpPr bwMode="gray">
          <a:xfrm>
            <a:off x="482332" y="1330760"/>
            <a:ext cx="4350892" cy="510219"/>
            <a:chOff x="915" y="715"/>
            <a:chExt cx="2686" cy="315"/>
          </a:xfrm>
        </p:grpSpPr>
        <p:cxnSp>
          <p:nvCxnSpPr>
            <p:cNvPr id="234" name="AutoShape 249">
              <a:extLst>
                <a:ext uri="{FF2B5EF4-FFF2-40B4-BE49-F238E27FC236}">
                  <a16:creationId xmlns:a16="http://schemas.microsoft.com/office/drawing/2014/main" id="{8E299325-0908-429A-A43C-864ABBC3BF0A}"/>
                </a:ext>
              </a:extLst>
            </p:cNvPr>
            <p:cNvCxnSpPr>
              <a:cxnSpLocks noChangeShapeType="1"/>
              <a:stCxn id="235" idx="4"/>
              <a:endCxn id="23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5" name="AutoShape 250">
              <a:extLst>
                <a:ext uri="{FF2B5EF4-FFF2-40B4-BE49-F238E27FC236}">
                  <a16:creationId xmlns:a16="http://schemas.microsoft.com/office/drawing/2014/main" id="{67326F4F-D049-4C75-8265-333792AFF1F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de-D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de-DE" sz="1600" baseline="0" noProof="0" dirty="0">
                  <a:solidFill>
                    <a:schemeClr val="tx1"/>
                  </a:solidFill>
                  <a:latin typeface="+mn-lt"/>
                  <a:ea typeface="+mn-ea"/>
                </a:rPr>
                <a:t>Unit </a:t>
              </a:r>
              <a:r>
                <a:rPr lang="de-DE" sz="1600" baseline="0" noProof="0" dirty="0" err="1">
                  <a:solidFill>
                    <a:schemeClr val="tx1"/>
                  </a:solidFill>
                  <a:latin typeface="+mn-lt"/>
                  <a:ea typeface="+mn-ea"/>
                </a:rPr>
                <a:t>of</a:t>
              </a:r>
              <a:r>
                <a:rPr lang="de-DE" sz="1600" baseline="0" noProof="0" dirty="0">
                  <a:solidFill>
                    <a:schemeClr val="tx1"/>
                  </a:solidFill>
                  <a:latin typeface="+mn-lt"/>
                  <a:ea typeface="+mn-ea"/>
                </a:rPr>
                <a:t> </a:t>
              </a:r>
              <a:r>
                <a:rPr lang="de-DE" sz="1600" baseline="0" noProof="0" dirty="0" err="1">
                  <a:solidFill>
                    <a:schemeClr val="tx1"/>
                  </a:solidFill>
                  <a:latin typeface="+mn-lt"/>
                  <a:ea typeface="+mn-ea"/>
                </a:rPr>
                <a:t>measure</a:t>
              </a:r>
              <a:endParaRPr lang="de-DE" sz="1600" baseline="0" noProof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236" name="LegendBoxes" hidden="1">
            <a:extLst>
              <a:ext uri="{FF2B5EF4-FFF2-40B4-BE49-F238E27FC236}">
                <a16:creationId xmlns:a16="http://schemas.microsoft.com/office/drawing/2014/main" id="{178CE95F-AAA5-4233-B75E-5AC888A3C7E1}"/>
              </a:ext>
            </a:extLst>
          </p:cNvPr>
          <p:cNvGrpSpPr>
            <a:grpSpLocks/>
          </p:cNvGrpSpPr>
          <p:nvPr/>
        </p:nvGrpSpPr>
        <p:grpSpPr bwMode="gray">
          <a:xfrm>
            <a:off x="7957228" y="705842"/>
            <a:ext cx="853656" cy="1013962"/>
            <a:chOff x="4936" y="176"/>
            <a:chExt cx="527" cy="626"/>
          </a:xfrm>
        </p:grpSpPr>
        <p:sp>
          <p:nvSpPr>
            <p:cNvPr id="237" name="Legend1">
              <a:extLst>
                <a:ext uri="{FF2B5EF4-FFF2-40B4-BE49-F238E27FC236}">
                  <a16:creationId xmlns:a16="http://schemas.microsoft.com/office/drawing/2014/main" id="{FD2954D7-7A55-4DE6-BCB8-CEC5F455FF7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38" name="LegendRectangle1">
              <a:extLst>
                <a:ext uri="{FF2B5EF4-FFF2-40B4-BE49-F238E27FC236}">
                  <a16:creationId xmlns:a16="http://schemas.microsoft.com/office/drawing/2014/main" id="{90715808-B60F-4060-87EB-A373BAF2A80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39" name="Legend2">
              <a:extLst>
                <a:ext uri="{FF2B5EF4-FFF2-40B4-BE49-F238E27FC236}">
                  <a16:creationId xmlns:a16="http://schemas.microsoft.com/office/drawing/2014/main" id="{3CED7A6B-0705-47FE-9498-42190C9FE2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34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0" name="LegendRectangle2">
              <a:extLst>
                <a:ext uri="{FF2B5EF4-FFF2-40B4-BE49-F238E27FC236}">
                  <a16:creationId xmlns:a16="http://schemas.microsoft.com/office/drawing/2014/main" id="{5D408D83-C3A2-4F29-B503-A5D73750E8E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rgbClr val="72BFC5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1" name="Legend3">
              <a:extLst>
                <a:ext uri="{FF2B5EF4-FFF2-40B4-BE49-F238E27FC236}">
                  <a16:creationId xmlns:a16="http://schemas.microsoft.com/office/drawing/2014/main" id="{FE873619-EDEB-42C5-A3D6-186F6AAD54D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517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2" name="LegendRectangle3">
              <a:extLst>
                <a:ext uri="{FF2B5EF4-FFF2-40B4-BE49-F238E27FC236}">
                  <a16:creationId xmlns:a16="http://schemas.microsoft.com/office/drawing/2014/main" id="{47C70F84-C2C7-46AE-B1AD-8CB46CCA9DF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rgbClr val="55B478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3" name="Legend4">
              <a:extLst>
                <a:ext uri="{FF2B5EF4-FFF2-40B4-BE49-F238E27FC236}">
                  <a16:creationId xmlns:a16="http://schemas.microsoft.com/office/drawing/2014/main" id="{7B681804-DE82-4F59-8942-958206A6D77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096" y="688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44" name="LegendRectangle4">
              <a:extLst>
                <a:ext uri="{FF2B5EF4-FFF2-40B4-BE49-F238E27FC236}">
                  <a16:creationId xmlns:a16="http://schemas.microsoft.com/office/drawing/2014/main" id="{66D5DCF2-ADFF-434C-802C-80154CF4EEF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rgbClr val="337299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anchor="ctr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</p:grpSp>
      <p:grpSp>
        <p:nvGrpSpPr>
          <p:cNvPr id="245" name="LegendLines" hidden="1">
            <a:extLst>
              <a:ext uri="{FF2B5EF4-FFF2-40B4-BE49-F238E27FC236}">
                <a16:creationId xmlns:a16="http://schemas.microsoft.com/office/drawing/2014/main" id="{24DA7C49-012D-4BF4-801F-000B08FDB8DB}"/>
              </a:ext>
            </a:extLst>
          </p:cNvPr>
          <p:cNvGrpSpPr>
            <a:grpSpLocks/>
          </p:cNvGrpSpPr>
          <p:nvPr/>
        </p:nvGrpSpPr>
        <p:grpSpPr bwMode="gray">
          <a:xfrm>
            <a:off x="7642979" y="705842"/>
            <a:ext cx="1167905" cy="741845"/>
            <a:chOff x="4750" y="176"/>
            <a:chExt cx="721" cy="458"/>
          </a:xfrm>
        </p:grpSpPr>
        <p:sp>
          <p:nvSpPr>
            <p:cNvPr id="246" name="LineLegend1">
              <a:extLst>
                <a:ext uri="{FF2B5EF4-FFF2-40B4-BE49-F238E27FC236}">
                  <a16:creationId xmlns:a16="http://schemas.microsoft.com/office/drawing/2014/main" id="{39EA9B37-BBF4-4D0F-A898-3944E050EA7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7" name="LineLegend2">
              <a:extLst>
                <a:ext uri="{FF2B5EF4-FFF2-40B4-BE49-F238E27FC236}">
                  <a16:creationId xmlns:a16="http://schemas.microsoft.com/office/drawing/2014/main" id="{13E44DE0-4525-4A65-A81F-F5706439259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8" name="LineLegend3">
              <a:extLst>
                <a:ext uri="{FF2B5EF4-FFF2-40B4-BE49-F238E27FC236}">
                  <a16:creationId xmlns:a16="http://schemas.microsoft.com/office/drawing/2014/main" id="{725907F6-2295-40BF-9897-65CD68C1C5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rgbClr val="337299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/>
            <a:lstStyle/>
            <a:p>
              <a:pPr eaLnBrk="1"/>
              <a:endParaRPr lang="de-DE" sz="1200" noProof="0" dirty="0">
                <a:latin typeface="+mn-lt"/>
              </a:endParaRPr>
            </a:p>
          </p:txBody>
        </p:sp>
        <p:sp>
          <p:nvSpPr>
            <p:cNvPr id="249" name="Legend1">
              <a:extLst>
                <a:ext uri="{FF2B5EF4-FFF2-40B4-BE49-F238E27FC236}">
                  <a16:creationId xmlns:a16="http://schemas.microsoft.com/office/drawing/2014/main" id="{1179389F-A4CE-4774-8E4A-50248D83A7F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176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50" name="Legend2">
              <a:extLst>
                <a:ext uri="{FF2B5EF4-FFF2-40B4-BE49-F238E27FC236}">
                  <a16:creationId xmlns:a16="http://schemas.microsoft.com/office/drawing/2014/main" id="{AC0C0CD9-FE01-4C39-A802-1D682AF4108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344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51" name="Legend3">
              <a:extLst>
                <a:ext uri="{FF2B5EF4-FFF2-40B4-BE49-F238E27FC236}">
                  <a16:creationId xmlns:a16="http://schemas.microsoft.com/office/drawing/2014/main" id="{ABDC7ADA-5CF9-473B-900E-C762DB2F0BE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104" y="520"/>
              <a:ext cx="36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</p:grpSp>
      <p:grpSp>
        <p:nvGrpSpPr>
          <p:cNvPr id="252" name="Sticker" hidden="1">
            <a:extLst>
              <a:ext uri="{FF2B5EF4-FFF2-40B4-BE49-F238E27FC236}">
                <a16:creationId xmlns:a16="http://schemas.microsoft.com/office/drawing/2014/main" id="{58CB69B6-A04E-4A58-885B-DC1A5C4FD9AB}"/>
              </a:ext>
            </a:extLst>
          </p:cNvPr>
          <p:cNvGrpSpPr/>
          <p:nvPr/>
        </p:nvGrpSpPr>
        <p:grpSpPr bwMode="gray">
          <a:xfrm>
            <a:off x="8236497" y="705842"/>
            <a:ext cx="574388" cy="241447"/>
            <a:chOff x="8177855" y="288153"/>
            <a:chExt cx="562920" cy="236641"/>
          </a:xfrm>
        </p:grpSpPr>
        <p:sp>
          <p:nvSpPr>
            <p:cNvPr id="253" name="StickerRectangle">
              <a:extLst>
                <a:ext uri="{FF2B5EF4-FFF2-40B4-BE49-F238E27FC236}">
                  <a16:creationId xmlns:a16="http://schemas.microsoft.com/office/drawing/2014/main" id="{87F0D757-2513-4B38-AD13-A0152E1636A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77855" y="288153"/>
              <a:ext cx="562920" cy="23664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200" noProof="0" dirty="0">
                  <a:solidFill>
                    <a:schemeClr val="tx1"/>
                  </a:solidFill>
                  <a:latin typeface="+mn-lt"/>
                </a:rPr>
                <a:t>STICKER</a:t>
              </a:r>
            </a:p>
          </p:txBody>
        </p:sp>
        <p:cxnSp>
          <p:nvCxnSpPr>
            <p:cNvPr id="254" name="AutoShape 32">
              <a:extLst>
                <a:ext uri="{FF2B5EF4-FFF2-40B4-BE49-F238E27FC236}">
                  <a16:creationId xmlns:a16="http://schemas.microsoft.com/office/drawing/2014/main" id="{1398B4D7-125F-4DF8-BA27-26E0F99AAEA8}"/>
                </a:ext>
              </a:extLst>
            </p:cNvPr>
            <p:cNvCxnSpPr>
              <a:cxnSpLocks noChangeShapeType="1"/>
              <a:stCxn id="253" idx="4"/>
              <a:endCxn id="253" idx="6"/>
            </p:cNvCxnSpPr>
            <p:nvPr/>
          </p:nvCxnSpPr>
          <p:spPr bwMode="gray">
            <a:xfrm>
              <a:off x="8177855" y="524794"/>
              <a:ext cx="56292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5" name="AutoShape 32">
              <a:extLst>
                <a:ext uri="{FF2B5EF4-FFF2-40B4-BE49-F238E27FC236}">
                  <a16:creationId xmlns:a16="http://schemas.microsoft.com/office/drawing/2014/main" id="{FBF6EE8C-ACDF-405C-BDA6-C5AECD90CF66}"/>
                </a:ext>
              </a:extLst>
            </p:cNvPr>
            <p:cNvCxnSpPr>
              <a:cxnSpLocks noChangeShapeType="1"/>
              <a:stCxn id="253" idx="2"/>
              <a:endCxn id="253" idx="0"/>
            </p:cNvCxnSpPr>
            <p:nvPr userDrawn="1"/>
          </p:nvCxnSpPr>
          <p:spPr bwMode="gray">
            <a:xfrm>
              <a:off x="8177855" y="288153"/>
              <a:ext cx="562920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6" name="LegendMoons" hidden="1">
            <a:extLst>
              <a:ext uri="{FF2B5EF4-FFF2-40B4-BE49-F238E27FC236}">
                <a16:creationId xmlns:a16="http://schemas.microsoft.com/office/drawing/2014/main" id="{B9FD1467-C9BF-4995-943B-942940CE1C92}"/>
              </a:ext>
            </a:extLst>
          </p:cNvPr>
          <p:cNvGrpSpPr/>
          <p:nvPr/>
        </p:nvGrpSpPr>
        <p:grpSpPr bwMode="gray">
          <a:xfrm>
            <a:off x="7876846" y="705842"/>
            <a:ext cx="934038" cy="1333054"/>
            <a:chOff x="7769225" y="2105025"/>
            <a:chExt cx="915390" cy="1306516"/>
          </a:xfrm>
        </p:grpSpPr>
        <p:grpSp>
          <p:nvGrpSpPr>
            <p:cNvPr id="257" name="MoonLegend1">
              <a:extLst>
                <a:ext uri="{FF2B5EF4-FFF2-40B4-BE49-F238E27FC236}">
                  <a16:creationId xmlns:a16="http://schemas.microsoft.com/office/drawing/2014/main" id="{C141AADD-6EF5-408C-B89C-6998065C0812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275" name="Oval 38">
                <a:extLst>
                  <a:ext uri="{FF2B5EF4-FFF2-40B4-BE49-F238E27FC236}">
                    <a16:creationId xmlns:a16="http://schemas.microsoft.com/office/drawing/2014/main" id="{69F302F8-5305-4F34-85E9-4FB421CBB9B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6" name="Arc 39">
                <a:extLst>
                  <a:ext uri="{FF2B5EF4-FFF2-40B4-BE49-F238E27FC236}">
                    <a16:creationId xmlns:a16="http://schemas.microsoft.com/office/drawing/2014/main" id="{2EF6E64B-E9EB-494C-83FB-007E7FB142AA}"/>
                  </a:ext>
                </a:extLst>
              </p:cNvPr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58" name="MoonLegend2">
              <a:extLst>
                <a:ext uri="{FF2B5EF4-FFF2-40B4-BE49-F238E27FC236}">
                  <a16:creationId xmlns:a16="http://schemas.microsoft.com/office/drawing/2014/main" id="{F7B87BFA-761F-4BD1-A15C-344C48FC3B7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273" name="Oval 41">
                <a:extLst>
                  <a:ext uri="{FF2B5EF4-FFF2-40B4-BE49-F238E27FC236}">
                    <a16:creationId xmlns:a16="http://schemas.microsoft.com/office/drawing/2014/main" id="{61C3042E-6EAD-4A35-A7E4-C59B18A3EBF2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4" name="Arc 42">
                <a:extLst>
                  <a:ext uri="{FF2B5EF4-FFF2-40B4-BE49-F238E27FC236}">
                    <a16:creationId xmlns:a16="http://schemas.microsoft.com/office/drawing/2014/main" id="{4F3D0221-B283-4579-B397-F5330A0014C2}"/>
                  </a:ext>
                </a:extLst>
              </p:cNvPr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59" name="MoonLegend4">
              <a:extLst>
                <a:ext uri="{FF2B5EF4-FFF2-40B4-BE49-F238E27FC236}">
                  <a16:creationId xmlns:a16="http://schemas.microsoft.com/office/drawing/2014/main" id="{BCCCD0D1-32E8-4A48-8135-0E58019CDAE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271" name="Oval 47">
                <a:extLst>
                  <a:ext uri="{FF2B5EF4-FFF2-40B4-BE49-F238E27FC236}">
                    <a16:creationId xmlns:a16="http://schemas.microsoft.com/office/drawing/2014/main" id="{4624F1EA-8FBC-451A-965F-7D43D249C0FD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2" name="Arc 48">
                <a:extLst>
                  <a:ext uri="{FF2B5EF4-FFF2-40B4-BE49-F238E27FC236}">
                    <a16:creationId xmlns:a16="http://schemas.microsoft.com/office/drawing/2014/main" id="{A2A90D3D-76A7-49E1-B27E-ABC461AF523A}"/>
                  </a:ext>
                </a:extLst>
              </p:cNvPr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grpSp>
          <p:nvGrpSpPr>
            <p:cNvPr id="260" name="MoonLegend5">
              <a:extLst>
                <a:ext uri="{FF2B5EF4-FFF2-40B4-BE49-F238E27FC236}">
                  <a16:creationId xmlns:a16="http://schemas.microsoft.com/office/drawing/2014/main" id="{C118DC04-4F9D-45EE-B5B2-78B7A6E9771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269" name="Oval 50">
                <a:extLst>
                  <a:ext uri="{FF2B5EF4-FFF2-40B4-BE49-F238E27FC236}">
                    <a16:creationId xmlns:a16="http://schemas.microsoft.com/office/drawing/2014/main" id="{CC3F96B2-DF3D-46E4-907E-D1AA42E4B3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70" name="Oval 51">
                <a:extLst>
                  <a:ext uri="{FF2B5EF4-FFF2-40B4-BE49-F238E27FC236}">
                    <a16:creationId xmlns:a16="http://schemas.microsoft.com/office/drawing/2014/main" id="{E8759416-6C68-42C6-8D9F-1C892B364596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  <p:sp>
          <p:nvSpPr>
            <p:cNvPr id="261" name="Legend1">
              <a:extLst>
                <a:ext uri="{FF2B5EF4-FFF2-40B4-BE49-F238E27FC236}">
                  <a16:creationId xmlns:a16="http://schemas.microsoft.com/office/drawing/2014/main" id="{F9B455C1-E854-4256-BCEA-F3B06E26D91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117467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2" name="Legend2">
              <a:extLst>
                <a:ext uri="{FF2B5EF4-FFF2-40B4-BE49-F238E27FC236}">
                  <a16:creationId xmlns:a16="http://schemas.microsoft.com/office/drawing/2014/main" id="{7D5A9FB9-F434-4D96-BAF5-0E11046E2C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392363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3" name="Legend3">
              <a:extLst>
                <a:ext uri="{FF2B5EF4-FFF2-40B4-BE49-F238E27FC236}">
                  <a16:creationId xmlns:a16="http://schemas.microsoft.com/office/drawing/2014/main" id="{A246E890-13DF-4A0E-A9B8-A144B6F04E2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667002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4" name="Legend4">
              <a:extLst>
                <a:ext uri="{FF2B5EF4-FFF2-40B4-BE49-F238E27FC236}">
                  <a16:creationId xmlns:a16="http://schemas.microsoft.com/office/drawing/2014/main" id="{D1E040E8-71E3-4836-A062-B8120447C87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2938465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sp>
          <p:nvSpPr>
            <p:cNvPr id="265" name="Legend5">
              <a:extLst>
                <a:ext uri="{FF2B5EF4-FFF2-40B4-BE49-F238E27FC236}">
                  <a16:creationId xmlns:a16="http://schemas.microsoft.com/office/drawing/2014/main" id="{50240907-172D-4753-91C9-80D0DA51598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089900" y="3214690"/>
              <a:ext cx="59471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de-DE" sz="1200" noProof="0" dirty="0">
                  <a:latin typeface="+mn-lt"/>
                </a:rPr>
                <a:t>Legende</a:t>
              </a:r>
            </a:p>
          </p:txBody>
        </p:sp>
        <p:grpSp>
          <p:nvGrpSpPr>
            <p:cNvPr id="266" name="MoonLegend3">
              <a:extLst>
                <a:ext uri="{FF2B5EF4-FFF2-40B4-BE49-F238E27FC236}">
                  <a16:creationId xmlns:a16="http://schemas.microsoft.com/office/drawing/2014/main" id="{734B19B6-EAB3-4182-A4D2-294E2B0914A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267" name="Oval 47">
                <a:extLst>
                  <a:ext uri="{FF2B5EF4-FFF2-40B4-BE49-F238E27FC236}">
                    <a16:creationId xmlns:a16="http://schemas.microsoft.com/office/drawing/2014/main" id="{4ED7ADEC-CA19-4A94-AECD-EAB2A6BEB1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rgbClr val="DCB45A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  <p:sp>
            <p:nvSpPr>
              <p:cNvPr id="268" name="Arc 48">
                <a:extLst>
                  <a:ext uri="{FF2B5EF4-FFF2-40B4-BE49-F238E27FC236}">
                    <a16:creationId xmlns:a16="http://schemas.microsoft.com/office/drawing/2014/main" id="{E4E23CA7-BF4B-4C0F-BC49-209BD8CC9824}"/>
                  </a:ext>
                </a:extLst>
              </p:cNvPr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rgbClr val="337299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anchor="ctr"/>
              <a:lstStyle/>
              <a:p>
                <a:pPr eaLnBrk="1"/>
                <a:endParaRPr lang="de-DE" sz="1200" noProof="0" dirty="0">
                  <a:latin typeface="+mn-lt"/>
                </a:endParaRPr>
              </a:p>
            </p:txBody>
          </p:sp>
        </p:grpSp>
      </p:grpSp>
      <p:sp>
        <p:nvSpPr>
          <p:cNvPr id="277" name="pg number">
            <a:extLst>
              <a:ext uri="{FF2B5EF4-FFF2-40B4-BE49-F238E27FC236}">
                <a16:creationId xmlns:a16="http://schemas.microsoft.com/office/drawing/2014/main" id="{2643CF11-ED9A-4B78-866C-85C18685F107}"/>
              </a:ext>
            </a:extLst>
          </p:cNvPr>
          <p:cNvSpPr>
            <a:spLocks/>
          </p:cNvSpPr>
          <p:nvPr/>
        </p:nvSpPr>
        <p:spPr bwMode="gray">
          <a:xfrm>
            <a:off x="8546388" y="4854488"/>
            <a:ext cx="264496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r>
              <a:rPr lang="de-DE" sz="600" noProof="0" dirty="0">
                <a:solidFill>
                  <a:srgbClr val="898989"/>
                </a:solidFill>
                <a:latin typeface="+mn-lt"/>
              </a:rPr>
              <a:t>Seite </a:t>
            </a:r>
            <a:fld id="{42C328C1-A84F-4A39-A664-DBA00541A8C6}" type="slidenum">
              <a:rPr lang="de-DE" sz="600" noProof="0" smtClean="0">
                <a:solidFill>
                  <a:srgbClr val="898989"/>
                </a:solidFill>
                <a:latin typeface="+mn-lt"/>
              </a:rPr>
              <a:pPr lvl="0" algn="r"/>
              <a:t>‹Nr.›</a:t>
            </a:fld>
            <a:endParaRPr lang="de-DE" sz="600" baseline="0" noProof="0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278" name="3. Unit of measure" hidden="1">
            <a:extLst>
              <a:ext uri="{FF2B5EF4-FFF2-40B4-BE49-F238E27FC236}">
                <a16:creationId xmlns:a16="http://schemas.microsoft.com/office/drawing/2014/main" id="{C1C5E9FC-6DFB-4661-BBC8-BFE79A2A891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2332" y="705842"/>
            <a:ext cx="8328552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447675" algn="l"/>
              </a:tabLst>
              <a:defRPr/>
            </a:pPr>
            <a:r>
              <a:rPr lang="de-DE" sz="1600" baseline="0" noProof="0">
                <a:solidFill>
                  <a:schemeClr val="tx1"/>
                </a:solidFill>
                <a:latin typeface="+mn-lt"/>
              </a:rPr>
              <a:t>Subtitle</a:t>
            </a:r>
            <a:endParaRPr lang="de-DE" sz="1600" baseline="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79" name="1. On-page tracker" hidden="1">
            <a:extLst>
              <a:ext uri="{FF2B5EF4-FFF2-40B4-BE49-F238E27FC236}">
                <a16:creationId xmlns:a16="http://schemas.microsoft.com/office/drawing/2014/main" id="{F2397FCC-58BD-48D6-B195-C27C77AD392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82332" y="39933"/>
            <a:ext cx="62536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>
              <a:tabLst>
                <a:tab pos="447675" algn="l"/>
              </a:tabLst>
            </a:pPr>
            <a:r>
              <a:rPr lang="de-DE" sz="1200" cap="all" baseline="0" dirty="0" err="1">
                <a:latin typeface="+mn-lt"/>
                <a:ea typeface="+mj-ea"/>
              </a:rPr>
              <a:t>TRACKER</a:t>
            </a:r>
            <a:endParaRPr lang="de-DE" sz="1200" cap="all" baseline="0" dirty="0">
              <a:latin typeface="+mn-lt"/>
              <a:ea typeface="+mj-ea"/>
            </a:endParaRPr>
          </a:p>
        </p:txBody>
      </p:sp>
      <p:grpSp>
        <p:nvGrpSpPr>
          <p:cNvPr id="286" name="Moon" hidden="1">
            <a:extLst>
              <a:ext uri="{FF2B5EF4-FFF2-40B4-BE49-F238E27FC236}">
                <a16:creationId xmlns:a16="http://schemas.microsoft.com/office/drawing/2014/main" id="{63BC6243-1F52-45E4-A894-40C9C2856252}"/>
              </a:ext>
            </a:extLst>
          </p:cNvPr>
          <p:cNvGrpSpPr/>
          <p:nvPr>
            <p:custDataLst>
              <p:tags r:id="rId7"/>
            </p:custDataLst>
          </p:nvPr>
        </p:nvGrpSpPr>
        <p:grpSpPr bwMode="gray">
          <a:xfrm>
            <a:off x="8551710" y="2916674"/>
            <a:ext cx="259174" cy="259159"/>
            <a:chOff x="762000" y="1270000"/>
            <a:chExt cx="254000" cy="254000"/>
          </a:xfrm>
        </p:grpSpPr>
        <p:sp>
          <p:nvSpPr>
            <p:cNvPr id="287" name="Oval 286">
              <a:extLst>
                <a:ext uri="{FF2B5EF4-FFF2-40B4-BE49-F238E27FC236}">
                  <a16:creationId xmlns:a16="http://schemas.microsoft.com/office/drawing/2014/main" id="{225CDC12-613F-4CBC-BA3D-52A937C7198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rgbClr val="DCB45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de-DE" sz="1200" dirty="0">
                <a:solidFill>
                  <a:schemeClr val="tx1"/>
                </a:solidFill>
              </a:endParaRPr>
            </a:p>
          </p:txBody>
        </p:sp>
        <p:sp>
          <p:nvSpPr>
            <p:cNvPr id="288" name="Arc 287">
              <a:extLst>
                <a:ext uri="{FF2B5EF4-FFF2-40B4-BE49-F238E27FC236}">
                  <a16:creationId xmlns:a16="http://schemas.microsoft.com/office/drawing/2014/main" id="{0CD8258A-FCA7-4622-8D5B-8324DA89B6E2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rgbClr val="337299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1"/>
              <a:endParaRPr lang="de-DE" sz="1200" dirty="0"/>
            </a:p>
          </p:txBody>
        </p:sp>
      </p:grpSp>
      <p:sp>
        <p:nvSpPr>
          <p:cNvPr id="280" name="Oval" hidden="1">
            <a:extLst>
              <a:ext uri="{FF2B5EF4-FFF2-40B4-BE49-F238E27FC236}">
                <a16:creationId xmlns:a16="http://schemas.microsoft.com/office/drawing/2014/main" id="{AAEEEC64-41F4-49EB-BDB4-5F1FABDE8324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5766479" y="933724"/>
            <a:ext cx="1315163" cy="1315086"/>
          </a:xfrm>
          <a:prstGeom prst="ellipse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 algn="ctr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1" name="Rectangle" hidden="1">
            <a:extLst>
              <a:ext uri="{FF2B5EF4-FFF2-40B4-BE49-F238E27FC236}">
                <a16:creationId xmlns:a16="http://schemas.microsoft.com/office/drawing/2014/main" id="{2D6C430B-CBFD-49DE-8C43-0F367B21845D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2902711" y="933724"/>
            <a:ext cx="1315163" cy="1315086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2" name="RoundedRectangle" hidden="1">
            <a:extLst>
              <a:ext uri="{FF2B5EF4-FFF2-40B4-BE49-F238E27FC236}">
                <a16:creationId xmlns:a16="http://schemas.microsoft.com/office/drawing/2014/main" id="{74017F43-6896-4287-B25A-3224B3092F01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4334595" y="933724"/>
            <a:ext cx="1315163" cy="1315086"/>
          </a:xfrm>
          <a:prstGeom prst="roundRect">
            <a:avLst/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3" name="Arrow" hidden="1">
            <a:extLst>
              <a:ext uri="{FF2B5EF4-FFF2-40B4-BE49-F238E27FC236}">
                <a16:creationId xmlns:a16="http://schemas.microsoft.com/office/drawing/2014/main" id="{1661818F-9796-4568-A871-51F991C80380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900816" y="3278336"/>
            <a:ext cx="1578196" cy="789051"/>
          </a:xfrm>
          <a:prstGeom prst="rightArrow">
            <a:avLst>
              <a:gd name="adj1" fmla="val 54000"/>
              <a:gd name="adj2" fmla="val 37678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720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895350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895350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9pPr>
          </a:lstStyle>
          <a:p>
            <a:pPr lvl="0"/>
            <a:r>
              <a:rPr lang="de-DE" sz="1600"/>
              <a:t>Text</a:t>
            </a:r>
            <a:endParaRPr lang="de-DE" sz="1600" dirty="0"/>
          </a:p>
        </p:txBody>
      </p:sp>
      <p:sp>
        <p:nvSpPr>
          <p:cNvPr id="284" name="DirArrow" hidden="1">
            <a:extLst>
              <a:ext uri="{FF2B5EF4-FFF2-40B4-BE49-F238E27FC236}">
                <a16:creationId xmlns:a16="http://schemas.microsoft.com/office/drawing/2014/main" id="{158966D4-0635-4754-AC79-5C17C8C1D032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5400000">
            <a:off x="6013042" y="2119046"/>
            <a:ext cx="2666994" cy="296350"/>
          </a:xfrm>
          <a:prstGeom prst="triangle">
            <a:avLst>
              <a:gd name="adj" fmla="val 50000"/>
            </a:avLst>
          </a:prstGeom>
          <a:solidFill>
            <a:srgbClr val="DCB45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/>
            <a:endParaRPr lang="de-DE" sz="1600" dirty="0">
              <a:latin typeface="+mn-lt"/>
              <a:sym typeface="+mn-lt"/>
            </a:endParaRPr>
          </a:p>
        </p:txBody>
      </p:sp>
      <p:sp>
        <p:nvSpPr>
          <p:cNvPr id="285" name="Bracket" hidden="1">
            <a:extLst>
              <a:ext uri="{FF2B5EF4-FFF2-40B4-BE49-F238E27FC236}">
                <a16:creationId xmlns:a16="http://schemas.microsoft.com/office/drawing/2014/main" id="{5FCCB044-E9BF-430D-A825-D3CC24041CA2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6362902" y="2369047"/>
            <a:ext cx="190425" cy="157810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3868"/>
              <a:gd name="connsiteY0" fmla="*/ 0 h 3282"/>
              <a:gd name="connsiteX1" fmla="*/ 3818 w 3868"/>
              <a:gd name="connsiteY1" fmla="*/ 213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3818 w 3868"/>
              <a:gd name="connsiteY2" fmla="*/ 2658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68"/>
              <a:gd name="connsiteY0" fmla="*/ 0 h 3282"/>
              <a:gd name="connsiteX1" fmla="*/ 79 w 3868"/>
              <a:gd name="connsiteY1" fmla="*/ 0 h 3282"/>
              <a:gd name="connsiteX2" fmla="*/ 79 w 3868"/>
              <a:gd name="connsiteY2" fmla="*/ 537 h 3282"/>
              <a:gd name="connsiteX3" fmla="*/ 3868 w 3868"/>
              <a:gd name="connsiteY3" fmla="*/ 2706 h 3282"/>
              <a:gd name="connsiteX4" fmla="*/ 3818 w 3868"/>
              <a:gd name="connsiteY4" fmla="*/ 2754 h 3282"/>
              <a:gd name="connsiteX5" fmla="*/ 3818 w 3868"/>
              <a:gd name="connsiteY5" fmla="*/ 3282 h 3282"/>
              <a:gd name="connsiteX6" fmla="*/ 3753 w 386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3818 w 3818"/>
              <a:gd name="connsiteY4" fmla="*/ 2754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818"/>
              <a:gd name="connsiteY0" fmla="*/ 0 h 3282"/>
              <a:gd name="connsiteX1" fmla="*/ 79 w 3818"/>
              <a:gd name="connsiteY1" fmla="*/ 0 h 3282"/>
              <a:gd name="connsiteX2" fmla="*/ 79 w 3818"/>
              <a:gd name="connsiteY2" fmla="*/ 537 h 3282"/>
              <a:gd name="connsiteX3" fmla="*/ 118 w 3818"/>
              <a:gd name="connsiteY3" fmla="*/ 576 h 3282"/>
              <a:gd name="connsiteX4" fmla="*/ 79 w 3818"/>
              <a:gd name="connsiteY4" fmla="*/ 615 h 3282"/>
              <a:gd name="connsiteX5" fmla="*/ 3818 w 3818"/>
              <a:gd name="connsiteY5" fmla="*/ 3282 h 3282"/>
              <a:gd name="connsiteX6" fmla="*/ 3753 w 3818"/>
              <a:gd name="connsiteY6" fmla="*/ 3282 h 3282"/>
              <a:gd name="connsiteX0" fmla="*/ 0 w 3753"/>
              <a:gd name="connsiteY0" fmla="*/ 0 h 3282"/>
              <a:gd name="connsiteX1" fmla="*/ 79 w 3753"/>
              <a:gd name="connsiteY1" fmla="*/ 0 h 3282"/>
              <a:gd name="connsiteX2" fmla="*/ 79 w 3753"/>
              <a:gd name="connsiteY2" fmla="*/ 537 h 3282"/>
              <a:gd name="connsiteX3" fmla="*/ 118 w 3753"/>
              <a:gd name="connsiteY3" fmla="*/ 576 h 3282"/>
              <a:gd name="connsiteX4" fmla="*/ 79 w 3753"/>
              <a:gd name="connsiteY4" fmla="*/ 615 h 3282"/>
              <a:gd name="connsiteX5" fmla="*/ 79 w 3753"/>
              <a:gd name="connsiteY5" fmla="*/ 1152 h 3282"/>
              <a:gd name="connsiteX6" fmla="*/ 3753 w 3753"/>
              <a:gd name="connsiteY6" fmla="*/ 3282 h 3282"/>
              <a:gd name="connsiteX0" fmla="*/ 0 w 118"/>
              <a:gd name="connsiteY0" fmla="*/ 0 h 1152"/>
              <a:gd name="connsiteX1" fmla="*/ 79 w 118"/>
              <a:gd name="connsiteY1" fmla="*/ 0 h 1152"/>
              <a:gd name="connsiteX2" fmla="*/ 79 w 118"/>
              <a:gd name="connsiteY2" fmla="*/ 537 h 1152"/>
              <a:gd name="connsiteX3" fmla="*/ 118 w 118"/>
              <a:gd name="connsiteY3" fmla="*/ 576 h 1152"/>
              <a:gd name="connsiteX4" fmla="*/ 79 w 118"/>
              <a:gd name="connsiteY4" fmla="*/ 615 h 1152"/>
              <a:gd name="connsiteX5" fmla="*/ 79 w 118"/>
              <a:gd name="connsiteY5" fmla="*/ 1152 h 1152"/>
              <a:gd name="connsiteX6" fmla="*/ 0 w 118"/>
              <a:gd name="connsiteY6" fmla="*/ 1152 h 1152"/>
              <a:gd name="connsiteX0" fmla="*/ 0 w 4763"/>
              <a:gd name="connsiteY0" fmla="*/ 0 h 2881"/>
              <a:gd name="connsiteX1" fmla="*/ 4724 w 4763"/>
              <a:gd name="connsiteY1" fmla="*/ 1729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4724 w 4763"/>
              <a:gd name="connsiteY2" fmla="*/ 2266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63"/>
              <a:gd name="connsiteY0" fmla="*/ 0 h 2881"/>
              <a:gd name="connsiteX1" fmla="*/ 93 w 4763"/>
              <a:gd name="connsiteY1" fmla="*/ 0 h 2881"/>
              <a:gd name="connsiteX2" fmla="*/ 93 w 4763"/>
              <a:gd name="connsiteY2" fmla="*/ 529 h 2881"/>
              <a:gd name="connsiteX3" fmla="*/ 4763 w 4763"/>
              <a:gd name="connsiteY3" fmla="*/ 2305 h 2881"/>
              <a:gd name="connsiteX4" fmla="*/ 4724 w 4763"/>
              <a:gd name="connsiteY4" fmla="*/ 2344 h 2881"/>
              <a:gd name="connsiteX5" fmla="*/ 4724 w 4763"/>
              <a:gd name="connsiteY5" fmla="*/ 2881 h 2881"/>
              <a:gd name="connsiteX6" fmla="*/ 4645 w 4763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4724 w 4724"/>
              <a:gd name="connsiteY4" fmla="*/ 2344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724"/>
              <a:gd name="connsiteY0" fmla="*/ 0 h 2881"/>
              <a:gd name="connsiteX1" fmla="*/ 93 w 4724"/>
              <a:gd name="connsiteY1" fmla="*/ 0 h 2881"/>
              <a:gd name="connsiteX2" fmla="*/ 93 w 4724"/>
              <a:gd name="connsiteY2" fmla="*/ 529 h 2881"/>
              <a:gd name="connsiteX3" fmla="*/ 139 w 4724"/>
              <a:gd name="connsiteY3" fmla="*/ 576 h 2881"/>
              <a:gd name="connsiteX4" fmla="*/ 93 w 4724"/>
              <a:gd name="connsiteY4" fmla="*/ 622 h 2881"/>
              <a:gd name="connsiteX5" fmla="*/ 4724 w 4724"/>
              <a:gd name="connsiteY5" fmla="*/ 2881 h 2881"/>
              <a:gd name="connsiteX6" fmla="*/ 4645 w 4724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  <a:gd name="connsiteX0" fmla="*/ 0 w 4784"/>
              <a:gd name="connsiteY0" fmla="*/ 0 h 2881"/>
              <a:gd name="connsiteX1" fmla="*/ 4738 w 4784"/>
              <a:gd name="connsiteY1" fmla="*/ 1729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4738 w 4784"/>
              <a:gd name="connsiteY2" fmla="*/ 2258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84"/>
              <a:gd name="connsiteY0" fmla="*/ 0 h 2881"/>
              <a:gd name="connsiteX1" fmla="*/ 93 w 4784"/>
              <a:gd name="connsiteY1" fmla="*/ 0 h 2881"/>
              <a:gd name="connsiteX2" fmla="*/ 93 w 4784"/>
              <a:gd name="connsiteY2" fmla="*/ 529 h 2881"/>
              <a:gd name="connsiteX3" fmla="*/ 4784 w 4784"/>
              <a:gd name="connsiteY3" fmla="*/ 2305 h 2881"/>
              <a:gd name="connsiteX4" fmla="*/ 4738 w 4784"/>
              <a:gd name="connsiteY4" fmla="*/ 2351 h 2881"/>
              <a:gd name="connsiteX5" fmla="*/ 4738 w 4784"/>
              <a:gd name="connsiteY5" fmla="*/ 2881 h 2881"/>
              <a:gd name="connsiteX6" fmla="*/ 4645 w 4784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4738 w 4738"/>
              <a:gd name="connsiteY4" fmla="*/ 2351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738"/>
              <a:gd name="connsiteY0" fmla="*/ 0 h 2881"/>
              <a:gd name="connsiteX1" fmla="*/ 93 w 4738"/>
              <a:gd name="connsiteY1" fmla="*/ 0 h 2881"/>
              <a:gd name="connsiteX2" fmla="*/ 93 w 4738"/>
              <a:gd name="connsiteY2" fmla="*/ 529 h 2881"/>
              <a:gd name="connsiteX3" fmla="*/ 139 w 4738"/>
              <a:gd name="connsiteY3" fmla="*/ 576 h 2881"/>
              <a:gd name="connsiteX4" fmla="*/ 93 w 4738"/>
              <a:gd name="connsiteY4" fmla="*/ 622 h 2881"/>
              <a:gd name="connsiteX5" fmla="*/ 4738 w 4738"/>
              <a:gd name="connsiteY5" fmla="*/ 2881 h 2881"/>
              <a:gd name="connsiteX6" fmla="*/ 4645 w 4738"/>
              <a:gd name="connsiteY6" fmla="*/ 2881 h 2881"/>
              <a:gd name="connsiteX0" fmla="*/ 0 w 4645"/>
              <a:gd name="connsiteY0" fmla="*/ 0 h 2881"/>
              <a:gd name="connsiteX1" fmla="*/ 93 w 4645"/>
              <a:gd name="connsiteY1" fmla="*/ 0 h 2881"/>
              <a:gd name="connsiteX2" fmla="*/ 93 w 4645"/>
              <a:gd name="connsiteY2" fmla="*/ 529 h 2881"/>
              <a:gd name="connsiteX3" fmla="*/ 139 w 4645"/>
              <a:gd name="connsiteY3" fmla="*/ 576 h 2881"/>
              <a:gd name="connsiteX4" fmla="*/ 93 w 4645"/>
              <a:gd name="connsiteY4" fmla="*/ 622 h 2881"/>
              <a:gd name="connsiteX5" fmla="*/ 93 w 4645"/>
              <a:gd name="connsiteY5" fmla="*/ 1152 h 2881"/>
              <a:gd name="connsiteX6" fmla="*/ 4645 w 4645"/>
              <a:gd name="connsiteY6" fmla="*/ 2881 h 2881"/>
              <a:gd name="connsiteX0" fmla="*/ 0 w 139"/>
              <a:gd name="connsiteY0" fmla="*/ 0 h 1152"/>
              <a:gd name="connsiteX1" fmla="*/ 93 w 139"/>
              <a:gd name="connsiteY1" fmla="*/ 0 h 1152"/>
              <a:gd name="connsiteX2" fmla="*/ 93 w 139"/>
              <a:gd name="connsiteY2" fmla="*/ 529 h 1152"/>
              <a:gd name="connsiteX3" fmla="*/ 139 w 139"/>
              <a:gd name="connsiteY3" fmla="*/ 576 h 1152"/>
              <a:gd name="connsiteX4" fmla="*/ 93 w 139"/>
              <a:gd name="connsiteY4" fmla="*/ 622 h 1152"/>
              <a:gd name="connsiteX5" fmla="*/ 93 w 139"/>
              <a:gd name="connsiteY5" fmla="*/ 1152 h 1152"/>
              <a:gd name="connsiteX6" fmla="*/ 0 w 139"/>
              <a:gd name="connsiteY6" fmla="*/ 1152 h 11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9" h="1152">
                <a:moveTo>
                  <a:pt x="0" y="0"/>
                </a:moveTo>
                <a:lnTo>
                  <a:pt x="93" y="0"/>
                </a:lnTo>
                <a:lnTo>
                  <a:pt x="93" y="529"/>
                </a:lnTo>
                <a:lnTo>
                  <a:pt x="139" y="576"/>
                </a:lnTo>
                <a:lnTo>
                  <a:pt x="93" y="622"/>
                </a:lnTo>
                <a:lnTo>
                  <a:pt x="93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/>
            <a:endParaRPr lang="de-DE" sz="1600" dirty="0">
              <a:latin typeface="+mn-lt"/>
              <a:sym typeface="+mn-lt"/>
            </a:endParaRPr>
          </a:p>
        </p:txBody>
      </p:sp>
      <p:grpSp>
        <p:nvGrpSpPr>
          <p:cNvPr id="289" name="Flow" hidden="1">
            <a:extLst>
              <a:ext uri="{FF2B5EF4-FFF2-40B4-BE49-F238E27FC236}">
                <a16:creationId xmlns:a16="http://schemas.microsoft.com/office/drawing/2014/main" id="{15CD1487-2678-44E2-B5CC-49CEB35C48CB}"/>
              </a:ext>
            </a:extLst>
          </p:cNvPr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2902711" y="2369047"/>
            <a:ext cx="1578196" cy="789051"/>
            <a:chOff x="5905500" y="3124200"/>
            <a:chExt cx="1828800" cy="914400"/>
          </a:xfrm>
          <a:solidFill>
            <a:srgbClr val="DCB45A"/>
          </a:solidFill>
        </p:grpSpPr>
        <p:sp>
          <p:nvSpPr>
            <p:cNvPr id="290" name="Freeform 85">
              <a:extLst>
                <a:ext uri="{FF2B5EF4-FFF2-40B4-BE49-F238E27FC236}">
                  <a16:creationId xmlns:a16="http://schemas.microsoft.com/office/drawing/2014/main" id="{6EF94FCB-53EA-4797-A26F-EBE1A10BEA94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1" name="TextBox 290">
              <a:extLst>
                <a:ext uri="{FF2B5EF4-FFF2-40B4-BE49-F238E27FC236}">
                  <a16:creationId xmlns:a16="http://schemas.microsoft.com/office/drawing/2014/main" id="{D66916BC-2C12-4199-9019-E1682114580E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 dirty="0"/>
                <a:t>Text</a:t>
              </a:r>
            </a:p>
          </p:txBody>
        </p:sp>
      </p:grpSp>
      <p:grpSp>
        <p:nvGrpSpPr>
          <p:cNvPr id="292" name="SplitFlow" hidden="1">
            <a:extLst>
              <a:ext uri="{FF2B5EF4-FFF2-40B4-BE49-F238E27FC236}">
                <a16:creationId xmlns:a16="http://schemas.microsoft.com/office/drawing/2014/main" id="{73A0864C-2FD8-4FCE-ACEB-DEE00BA7CF76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4632807" y="2369047"/>
            <a:ext cx="1578196" cy="789051"/>
            <a:chOff x="114300" y="1270000"/>
            <a:chExt cx="1828800" cy="914400"/>
          </a:xfrm>
          <a:solidFill>
            <a:srgbClr val="DCB45A"/>
          </a:solidFill>
        </p:grpSpPr>
        <p:sp>
          <p:nvSpPr>
            <p:cNvPr id="293" name="Freeform 88">
              <a:extLst>
                <a:ext uri="{FF2B5EF4-FFF2-40B4-BE49-F238E27FC236}">
                  <a16:creationId xmlns:a16="http://schemas.microsoft.com/office/drawing/2014/main" id="{7F450F19-2202-46C9-B60D-9542379B2702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4" name="TextBox 293">
              <a:extLst>
                <a:ext uri="{FF2B5EF4-FFF2-40B4-BE49-F238E27FC236}">
                  <a16:creationId xmlns:a16="http://schemas.microsoft.com/office/drawing/2014/main" id="{15247FC2-B846-48EF-B0A5-0E1AC51708E7}"/>
                </a:ext>
              </a:extLst>
            </p:cNvPr>
            <p:cNvSpPr txBox="1"/>
            <p:nvPr>
              <p:custDataLst>
                <p:tags r:id="rId17"/>
              </p:custDataLst>
            </p:nvPr>
          </p:nvSpPr>
          <p:spPr bwMode="gray">
            <a:xfrm>
              <a:off x="177800" y="1327150"/>
              <a:ext cx="1524000" cy="3361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 dirty="0"/>
                <a:t>Text</a:t>
              </a:r>
            </a:p>
          </p:txBody>
        </p:sp>
        <p:sp>
          <p:nvSpPr>
            <p:cNvPr id="295" name="Freeform 90">
              <a:extLst>
                <a:ext uri="{FF2B5EF4-FFF2-40B4-BE49-F238E27FC236}">
                  <a16:creationId xmlns:a16="http://schemas.microsoft.com/office/drawing/2014/main" id="{6901536F-391C-4721-9A47-FA9FDF2C8987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/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296" name="TextBox 295">
              <a:extLst>
                <a:ext uri="{FF2B5EF4-FFF2-40B4-BE49-F238E27FC236}">
                  <a16:creationId xmlns:a16="http://schemas.microsoft.com/office/drawing/2014/main" id="{29AF8259-FE75-48B0-8B41-F897677AFE7C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895350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895350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9pPr>
            </a:lstStyle>
            <a:p>
              <a:pPr lvl="0"/>
              <a:r>
                <a:rPr lang="de-DE" sz="1600" b="1"/>
                <a:t>Text</a:t>
              </a:r>
              <a:endParaRPr lang="de-DE" sz="1600" b="1" dirty="0"/>
            </a:p>
          </p:txBody>
        </p:sp>
      </p:grpSp>
      <p:sp>
        <p:nvSpPr>
          <p:cNvPr id="298" name="4. Footnote" hidden="1">
            <a:extLst>
              <a:ext uri="{FF2B5EF4-FFF2-40B4-BE49-F238E27FC236}">
                <a16:creationId xmlns:a16="http://schemas.microsoft.com/office/drawing/2014/main" id="{62A356C6-7F50-4D97-A742-34F98DCA1818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64565" y="4668091"/>
            <a:ext cx="7001629" cy="123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5088" indent="-65088">
              <a:defRPr/>
            </a:pPr>
            <a:r>
              <a:rPr lang="de-DE" sz="800" baseline="0" noProof="0" dirty="0">
                <a:latin typeface="+mn-lt"/>
              </a:rPr>
              <a:t>1 Fußnote</a:t>
            </a:r>
          </a:p>
        </p:txBody>
      </p:sp>
      <p:sp>
        <p:nvSpPr>
          <p:cNvPr id="299" name="5. Source" hidden="1">
            <a:extLst>
              <a:ext uri="{FF2B5EF4-FFF2-40B4-BE49-F238E27FC236}">
                <a16:creationId xmlns:a16="http://schemas.microsoft.com/office/drawing/2014/main" id="{344D905E-19C6-4CC0-B71D-D835FCD0BC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64565" y="4823720"/>
            <a:ext cx="7001629" cy="123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265113" indent="-265113" defTabSz="895350">
              <a:tabLst/>
            </a:pPr>
            <a:r>
              <a:rPr lang="de-DE" sz="800" baseline="0" noProof="0" dirty="0">
                <a:solidFill>
                  <a:srgbClr val="000000"/>
                </a:solidFill>
                <a:latin typeface="+mn-lt"/>
              </a:rPr>
              <a:t>Quelle: Quelle</a:t>
            </a:r>
          </a:p>
        </p:txBody>
      </p:sp>
      <p:sp>
        <p:nvSpPr>
          <p:cNvPr id="3" name="Working Draft" hidden="1">
            <a:extLst>
              <a:ext uri="{FF2B5EF4-FFF2-40B4-BE49-F238E27FC236}">
                <a16:creationId xmlns:a16="http://schemas.microsoft.com/office/drawing/2014/main" id="{F9FD6463-4978-4F81-9755-0AA311550C2F}"/>
              </a:ext>
            </a:extLst>
          </p:cNvPr>
          <p:cNvSpPr txBox="1"/>
          <p:nvPr userDrawn="1"/>
        </p:nvSpPr>
        <p:spPr>
          <a:xfrm rot="5400000">
            <a:off x="7810500" y="2540000"/>
            <a:ext cx="2540000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600">
                <a:solidFill>
                  <a:srgbClr val="808080"/>
                </a:solidFill>
              </a:rPr>
              <a:t>Last Modified 04.11.2019 15:32 W. Europe Standard Time</a:t>
            </a:r>
            <a:endParaRPr lang="de-DE" sz="600" dirty="0">
              <a:solidFill>
                <a:srgbClr val="808080"/>
              </a:solidFill>
            </a:endParaRPr>
          </a:p>
        </p:txBody>
      </p:sp>
      <p:sp>
        <p:nvSpPr>
          <p:cNvPr id="4" name="Printed" hidden="1">
            <a:extLst>
              <a:ext uri="{FF2B5EF4-FFF2-40B4-BE49-F238E27FC236}">
                <a16:creationId xmlns:a16="http://schemas.microsoft.com/office/drawing/2014/main" id="{5CF7ABBD-93C7-4F0E-A830-327BEA734E9D}"/>
              </a:ext>
            </a:extLst>
          </p:cNvPr>
          <p:cNvSpPr txBox="1"/>
          <p:nvPr userDrawn="1"/>
        </p:nvSpPr>
        <p:spPr>
          <a:xfrm rot="5400000">
            <a:off x="8445500" y="4398834"/>
            <a:ext cx="1270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600">
                <a:solidFill>
                  <a:srgbClr val="808080"/>
                </a:solidFill>
              </a:rPr>
              <a:t>Printed 26.09.2019 11:46 W. Europe Standard Time</a:t>
            </a:r>
            <a:endParaRPr lang="de-DE" sz="600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450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</p:sldLayoutIdLst>
  <p:txStyles>
    <p:titleStyle>
      <a:lvl1pPr algn="l" defTabSz="671496" rtl="0" eaLnBrk="1" fontAlgn="base" hangingPunct="1">
        <a:spcBef>
          <a:spcPct val="0"/>
        </a:spcBef>
        <a:spcAft>
          <a:spcPct val="0"/>
        </a:spcAft>
        <a:tabLst>
          <a:tab pos="447675" algn="l"/>
        </a:tabLst>
        <a:defRPr sz="24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2892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85783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28675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71566" algn="l" defTabSz="671496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–"/>
        <a:defRPr sz="1600" baseline="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•"/>
        <a:defRPr sz="1600" baseline="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–"/>
        <a:defRPr sz="1600" baseline="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alibri" panose="020F0502020204030204" pitchFamily="34" charset="0"/>
        <a:buChar char="»"/>
        <a:defRPr sz="1600" baseline="0">
          <a:solidFill>
            <a:schemeClr val="tx1"/>
          </a:solidFill>
          <a:latin typeface="+mn-lt"/>
          <a:ea typeface="+mn-ea"/>
          <a:cs typeface="+mn-cs"/>
        </a:defRPr>
      </a:lvl5pPr>
      <a:lvl6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62342" indent="-97628" algn="l" defTabSz="67149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30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09.xml"/><Relationship Id="rId7" Type="http://schemas.openxmlformats.org/officeDocument/2006/relationships/image" Target="../media/image3.emf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5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66.xml"/><Relationship Id="rId13" Type="http://schemas.openxmlformats.org/officeDocument/2006/relationships/image" Target="../media/image2.emf"/><Relationship Id="rId18" Type="http://schemas.openxmlformats.org/officeDocument/2006/relationships/image" Target="../media/image12.png"/><Relationship Id="rId3" Type="http://schemas.openxmlformats.org/officeDocument/2006/relationships/tags" Target="../tags/tag161.xml"/><Relationship Id="rId7" Type="http://schemas.openxmlformats.org/officeDocument/2006/relationships/tags" Target="../tags/tag165.xml"/><Relationship Id="rId12" Type="http://schemas.openxmlformats.org/officeDocument/2006/relationships/oleObject" Target="../embeddings/oleObject26.bin"/><Relationship Id="rId17" Type="http://schemas.openxmlformats.org/officeDocument/2006/relationships/image" Target="../media/image11.svg"/><Relationship Id="rId2" Type="http://schemas.openxmlformats.org/officeDocument/2006/relationships/tags" Target="../tags/tag160.xml"/><Relationship Id="rId16" Type="http://schemas.openxmlformats.org/officeDocument/2006/relationships/image" Target="../media/image10.png"/><Relationship Id="rId1" Type="http://schemas.openxmlformats.org/officeDocument/2006/relationships/tags" Target="../tags/tag159.xml"/><Relationship Id="rId6" Type="http://schemas.openxmlformats.org/officeDocument/2006/relationships/tags" Target="../tags/tag16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63.xml"/><Relationship Id="rId15" Type="http://schemas.openxmlformats.org/officeDocument/2006/relationships/image" Target="../media/image9.svg"/><Relationship Id="rId10" Type="http://schemas.openxmlformats.org/officeDocument/2006/relationships/tags" Target="../tags/tag168.xml"/><Relationship Id="rId19" Type="http://schemas.openxmlformats.org/officeDocument/2006/relationships/image" Target="../media/image13.svg"/><Relationship Id="rId4" Type="http://schemas.openxmlformats.org/officeDocument/2006/relationships/tags" Target="../tags/tag162.xml"/><Relationship Id="rId9" Type="http://schemas.openxmlformats.org/officeDocument/2006/relationships/tags" Target="../tags/tag167.xml"/><Relationship Id="rId1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74.xml"/><Relationship Id="rId7" Type="http://schemas.openxmlformats.org/officeDocument/2006/relationships/tags" Target="../tags/tag178.xml"/><Relationship Id="rId2" Type="http://schemas.openxmlformats.org/officeDocument/2006/relationships/tags" Target="../tags/tag173.xml"/><Relationship Id="rId1" Type="http://schemas.openxmlformats.org/officeDocument/2006/relationships/tags" Target="../tags/tag172.xml"/><Relationship Id="rId6" Type="http://schemas.openxmlformats.org/officeDocument/2006/relationships/tags" Target="../tags/tag177.xml"/><Relationship Id="rId5" Type="http://schemas.openxmlformats.org/officeDocument/2006/relationships/tags" Target="../tags/tag176.xml"/><Relationship Id="rId10" Type="http://schemas.openxmlformats.org/officeDocument/2006/relationships/image" Target="../media/image7.emf"/><Relationship Id="rId4" Type="http://schemas.openxmlformats.org/officeDocument/2006/relationships/tags" Target="../tags/tag175.xml"/><Relationship Id="rId9" Type="http://schemas.openxmlformats.org/officeDocument/2006/relationships/oleObject" Target="../embeddings/oleObject28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84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8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6.emf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5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7.emf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oleObject" Target="../embeddings/oleObject3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9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image" Target="../media/image6.emf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12" Type="http://schemas.openxmlformats.org/officeDocument/2006/relationships/oleObject" Target="../embeddings/oleObject34.bin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20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99.xml"/><Relationship Id="rId9" Type="http://schemas.openxmlformats.org/officeDocument/2006/relationships/tags" Target="../tags/tag20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5.pn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0.pn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2.emf"/><Relationship Id="rId2" Type="http://schemas.openxmlformats.org/officeDocument/2006/relationships/tags" Target="../tags/tag209.xml"/><Relationship Id="rId16" Type="http://schemas.openxmlformats.org/officeDocument/2006/relationships/image" Target="../media/image13.svg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oleObject" Target="../embeddings/oleObject36.bin"/><Relationship Id="rId5" Type="http://schemas.openxmlformats.org/officeDocument/2006/relationships/tags" Target="../tags/tag212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image" Target="../media/image11.sv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3" Type="http://schemas.openxmlformats.org/officeDocument/2006/relationships/tags" Target="../tags/tag222.xml"/><Relationship Id="rId7" Type="http://schemas.openxmlformats.org/officeDocument/2006/relationships/tags" Target="../tags/tag226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tags" Target="../tags/tag225.xml"/><Relationship Id="rId11" Type="http://schemas.openxmlformats.org/officeDocument/2006/relationships/image" Target="../media/image7.emf"/><Relationship Id="rId5" Type="http://schemas.openxmlformats.org/officeDocument/2006/relationships/tags" Target="../tags/tag224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223.xml"/><Relationship Id="rId9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9.bin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33.xml"/><Relationship Id="rId7" Type="http://schemas.openxmlformats.org/officeDocument/2006/relationships/oleObject" Target="../embeddings/oleObject40.bin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3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237.xml"/><Relationship Id="rId2" Type="http://schemas.openxmlformats.org/officeDocument/2006/relationships/tags" Target="../tags/tag236.xml"/><Relationship Id="rId1" Type="http://schemas.openxmlformats.org/officeDocument/2006/relationships/tags" Target="../tags/tag235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7" Type="http://schemas.openxmlformats.org/officeDocument/2006/relationships/image" Target="../media/image6.emf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oleObject" Target="../embeddings/oleObject4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6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18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1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11" Type="http://schemas.openxmlformats.org/officeDocument/2006/relationships/image" Target="../media/image7.emf"/><Relationship Id="rId5" Type="http://schemas.openxmlformats.org/officeDocument/2006/relationships/tags" Target="../tags/tag121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20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127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9.xml"/><Relationship Id="rId4" Type="http://schemas.openxmlformats.org/officeDocument/2006/relationships/tags" Target="../tags/tag12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image" Target="../media/image7.emf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oleObject" Target="../embeddings/oleObject21.bin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11" Type="http://schemas.openxmlformats.org/officeDocument/2006/relationships/slideLayout" Target="../slideLayouts/slideLayout4.xml"/><Relationship Id="rId5" Type="http://schemas.openxmlformats.org/officeDocument/2006/relationships/tags" Target="../tags/tag134.xml"/><Relationship Id="rId10" Type="http://schemas.openxmlformats.org/officeDocument/2006/relationships/tags" Target="../tags/tag139.xml"/><Relationship Id="rId4" Type="http://schemas.openxmlformats.org/officeDocument/2006/relationships/tags" Target="../tags/tag133.xml"/><Relationship Id="rId9" Type="http://schemas.openxmlformats.org/officeDocument/2006/relationships/tags" Target="../tags/tag13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7" Type="http://schemas.openxmlformats.org/officeDocument/2006/relationships/image" Target="../media/image5.png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7.emf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oleObject" Target="../embeddings/oleObject23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4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image" Target="../media/image6.emf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oleObject" Target="../embeddings/oleObject24.bin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51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50.xml"/><Relationship Id="rId9" Type="http://schemas.openxmlformats.org/officeDocument/2006/relationships/tags" Target="../tags/tag1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24" imgH="526" progId="TCLayout.ActiveDocument.1">
                  <p:embed/>
                </p:oleObj>
              </mc:Choice>
              <mc:Fallback>
                <p:oleObj name="think-cell Slide" r:id="rId6" imgW="524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476C1F6-7009-4862-B5A4-A087ECACA5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90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64694"/>
            <a:ext cx="9144000" cy="30788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975445" y="2064694"/>
            <a:ext cx="4945512" cy="89255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orlage für die Durchführung eines Steuerungskreises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  <a:sym typeface="+mj-lt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975445" y="3475912"/>
            <a:ext cx="4945512" cy="276999"/>
          </a:xfr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>
              <a:tabLst>
                <a:tab pos="447675" algn="l"/>
              </a:tabLst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Stand 04. November 2019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7514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959220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Steuerungskreis am 28.09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Legend1">
            <a:extLst>
              <a:ext uri="{FF2B5EF4-FFF2-40B4-BE49-F238E27FC236}">
                <a16:creationId xmlns:a16="http://schemas.microsoft.com/office/drawing/2014/main" id="{8F7F1537-9286-4880-9C67-90CE9AF62E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9310" y="2518892"/>
            <a:ext cx="5564657" cy="484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35DFC310-E577-4A66-AFDA-1FBF8D339E50}"/>
              </a:ext>
            </a:extLst>
          </p:cNvPr>
          <p:cNvCxnSpPr>
            <a:cxnSpLocks/>
          </p:cNvCxnSpPr>
          <p:nvPr/>
        </p:nvCxnSpPr>
        <p:spPr bwMode="gray">
          <a:xfrm>
            <a:off x="1869310" y="4457373"/>
            <a:ext cx="5564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F7CD20CE-2685-46C2-A7F9-A9FCC7DD2F58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034273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FD1FF3B-34FF-4575-9D0A-154927EC59EA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518892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15907FD-7175-4B9F-8D02-00E5EEF4E1FA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003511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F5EA5FD9-DEB3-4289-98D9-45B1AA1C33ED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488130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96C3143F-6556-422F-912C-8E35CED11137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972749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29192789-D1F8-4306-98EE-F3D4B7677886}"/>
              </a:ext>
            </a:extLst>
          </p:cNvPr>
          <p:cNvSpPr txBox="1">
            <a:spLocks/>
          </p:cNvSpPr>
          <p:nvPr/>
        </p:nvSpPr>
        <p:spPr>
          <a:xfrm>
            <a:off x="6147747" y="1173397"/>
            <a:ext cx="128622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1891362-5646-49C1-AC6D-9FF811227A44}"/>
              </a:ext>
            </a:extLst>
          </p:cNvPr>
          <p:cNvSpPr txBox="1">
            <a:spLocks/>
          </p:cNvSpPr>
          <p:nvPr/>
        </p:nvSpPr>
        <p:spPr>
          <a:xfrm>
            <a:off x="1869310" y="1173397"/>
            <a:ext cx="4101617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34559D8-85C4-4DC4-BAC5-8F7AA0063611}"/>
              </a:ext>
            </a:extLst>
          </p:cNvPr>
          <p:cNvSpPr txBox="1">
            <a:spLocks/>
          </p:cNvSpPr>
          <p:nvPr/>
        </p:nvSpPr>
        <p:spPr>
          <a:xfrm>
            <a:off x="6147747" y="1684241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00 Uh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A157334-0767-44D0-8829-0C29761B9E16}"/>
              </a:ext>
            </a:extLst>
          </p:cNvPr>
          <p:cNvSpPr txBox="1">
            <a:spLocks/>
          </p:cNvSpPr>
          <p:nvPr/>
        </p:nvSpPr>
        <p:spPr>
          <a:xfrm>
            <a:off x="1869310" y="1684241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Zielsetzung des Steuerungskreise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39E6978-592B-487D-9083-77DA2892F7E7}"/>
              </a:ext>
            </a:extLst>
          </p:cNvPr>
          <p:cNvSpPr txBox="1">
            <a:spLocks/>
          </p:cNvSpPr>
          <p:nvPr/>
        </p:nvSpPr>
        <p:spPr>
          <a:xfrm>
            <a:off x="6147747" y="3138098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30 Uhr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3C2CA58D-D998-442D-AB76-3007F8586297}"/>
              </a:ext>
            </a:extLst>
          </p:cNvPr>
          <p:cNvSpPr txBox="1">
            <a:spLocks/>
          </p:cNvSpPr>
          <p:nvPr/>
        </p:nvSpPr>
        <p:spPr>
          <a:xfrm>
            <a:off x="1869310" y="3138098"/>
            <a:ext cx="42784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bstimmung Themen mit Entscheidungsbedarf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A3045BD-104C-42E3-A7BA-D1BFC7A29153}"/>
              </a:ext>
            </a:extLst>
          </p:cNvPr>
          <p:cNvSpPr txBox="1">
            <a:spLocks/>
          </p:cNvSpPr>
          <p:nvPr/>
        </p:nvSpPr>
        <p:spPr>
          <a:xfrm>
            <a:off x="6147747" y="2168860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05 Uhr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BD1BE2F-8F12-4B1E-AB6B-2A37A771D50D}"/>
              </a:ext>
            </a:extLst>
          </p:cNvPr>
          <p:cNvSpPr txBox="1">
            <a:spLocks/>
          </p:cNvSpPr>
          <p:nvPr/>
        </p:nvSpPr>
        <p:spPr>
          <a:xfrm>
            <a:off x="1869310" y="2168860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Beschreibung der aktuellen Projektaktivitäten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722F58E-2EA7-4553-B09F-857236F305DB}"/>
              </a:ext>
            </a:extLst>
          </p:cNvPr>
          <p:cNvSpPr txBox="1">
            <a:spLocks/>
          </p:cNvSpPr>
          <p:nvPr/>
        </p:nvSpPr>
        <p:spPr>
          <a:xfrm>
            <a:off x="6147747" y="4107336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50 Uhr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1566799-67D1-423F-8502-7EE0A5731744}"/>
              </a:ext>
            </a:extLst>
          </p:cNvPr>
          <p:cNvSpPr txBox="1">
            <a:spLocks/>
          </p:cNvSpPr>
          <p:nvPr/>
        </p:nvSpPr>
        <p:spPr>
          <a:xfrm>
            <a:off x="1869310" y="4107336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Festlegung der nächsten Schritte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6B8A3BF-39E1-4ED0-A3A9-D24A59AE9FBA}"/>
              </a:ext>
            </a:extLst>
          </p:cNvPr>
          <p:cNvSpPr txBox="1">
            <a:spLocks/>
          </p:cNvSpPr>
          <p:nvPr/>
        </p:nvSpPr>
        <p:spPr>
          <a:xfrm>
            <a:off x="6147747" y="2653479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15 Uhr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ECABD39-96FA-4FEE-88D3-64A1E933212A}"/>
              </a:ext>
            </a:extLst>
          </p:cNvPr>
          <p:cNvSpPr txBox="1">
            <a:spLocks/>
          </p:cNvSpPr>
          <p:nvPr/>
        </p:nvSpPr>
        <p:spPr>
          <a:xfrm>
            <a:off x="1869310" y="2653479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arstellung der inhaltlichen Umsetzung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22BDA39-B33D-4F26-AF2C-6175FA682FDB}"/>
              </a:ext>
            </a:extLst>
          </p:cNvPr>
          <p:cNvSpPr txBox="1">
            <a:spLocks/>
          </p:cNvSpPr>
          <p:nvPr/>
        </p:nvSpPr>
        <p:spPr>
          <a:xfrm>
            <a:off x="6147747" y="3622717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45 Uhr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C2A35BF-A790-48F8-82A7-11A238A12F71}"/>
              </a:ext>
            </a:extLst>
          </p:cNvPr>
          <p:cNvSpPr txBox="1">
            <a:spLocks/>
          </p:cNvSpPr>
          <p:nvPr/>
        </p:nvSpPr>
        <p:spPr>
          <a:xfrm>
            <a:off x="1869310" y="3622717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dressierung von Unterstützungsbedarfen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712EE1C-4AB2-4441-999C-FD3F523C4A9A}"/>
              </a:ext>
            </a:extLst>
          </p:cNvPr>
          <p:cNvGrpSpPr/>
          <p:nvPr/>
        </p:nvGrpSpPr>
        <p:grpSpPr>
          <a:xfrm>
            <a:off x="5667437" y="1223502"/>
            <a:ext cx="246340" cy="260658"/>
            <a:chOff x="5451867" y="1215807"/>
            <a:chExt cx="246340" cy="260658"/>
          </a:xfrm>
        </p:grpSpPr>
        <p:sp>
          <p:nvSpPr>
            <p:cNvPr id="98" name="Freeform 73">
              <a:extLst>
                <a:ext uri="{FF2B5EF4-FFF2-40B4-BE49-F238E27FC236}">
                  <a16:creationId xmlns:a16="http://schemas.microsoft.com/office/drawing/2014/main" id="{AEB2183B-7D6E-4F51-8A41-B0E02FAB54D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1867" y="1215807"/>
              <a:ext cx="227063" cy="260459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4">
              <a:extLst>
                <a:ext uri="{FF2B5EF4-FFF2-40B4-BE49-F238E27FC236}">
                  <a16:creationId xmlns:a16="http://schemas.microsoft.com/office/drawing/2014/main" id="{4D1921F6-4E79-4551-BA14-68946AB53CA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6139" y="1294115"/>
              <a:ext cx="182068" cy="182350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0" name="Freeform 71">
            <a:extLst>
              <a:ext uri="{FF2B5EF4-FFF2-40B4-BE49-F238E27FC236}">
                <a16:creationId xmlns:a16="http://schemas.microsoft.com/office/drawing/2014/main" id="{8E62894D-50FD-4594-9D1B-E20559B65948}"/>
              </a:ext>
            </a:extLst>
          </p:cNvPr>
          <p:cNvSpPr>
            <a:spLocks noChangeAspect="1"/>
          </p:cNvSpPr>
          <p:nvPr/>
        </p:nvSpPr>
        <p:spPr bwMode="gray">
          <a:xfrm>
            <a:off x="7116190" y="1223681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sticker">
            <a:extLst>
              <a:ext uri="{FF2B5EF4-FFF2-40B4-BE49-F238E27FC236}">
                <a16:creationId xmlns:a16="http://schemas.microsoft.com/office/drawing/2014/main" id="{5E1198D3-040F-4ACE-87FA-C8D6FAD49069}"/>
              </a:ext>
            </a:extLst>
          </p:cNvPr>
          <p:cNvGrpSpPr/>
          <p:nvPr/>
        </p:nvGrpSpPr>
        <p:grpSpPr>
          <a:xfrm>
            <a:off x="8187537" y="713536"/>
            <a:ext cx="628377" cy="226058"/>
            <a:chOff x="8182508" y="713536"/>
            <a:chExt cx="628377" cy="226058"/>
          </a:xfrm>
        </p:grpSpPr>
        <p:sp>
          <p:nvSpPr>
            <p:cNvPr id="39" name="StickerRectangle">
              <a:extLst>
                <a:ext uri="{FF2B5EF4-FFF2-40B4-BE49-F238E27FC236}">
                  <a16:creationId xmlns:a16="http://schemas.microsoft.com/office/drawing/2014/main" id="{F64160DC-7373-4556-9997-4042099346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0" name="AutoShape 32">
              <a:extLst>
                <a:ext uri="{FF2B5EF4-FFF2-40B4-BE49-F238E27FC236}">
                  <a16:creationId xmlns:a16="http://schemas.microsoft.com/office/drawing/2014/main" id="{114491F4-DC95-4D36-82D0-04848B15777C}"/>
                </a:ext>
              </a:extLst>
            </p:cNvPr>
            <p:cNvCxnSpPr>
              <a:cxnSpLocks noChangeShapeType="1"/>
              <a:stCxn id="39" idx="4"/>
              <a:endCxn id="39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>
              <a:extLst>
                <a:ext uri="{FF2B5EF4-FFF2-40B4-BE49-F238E27FC236}">
                  <a16:creationId xmlns:a16="http://schemas.microsoft.com/office/drawing/2014/main" id="{E6268C8C-E163-4AD0-9D34-FD4CC591B6F4}"/>
                </a:ext>
              </a:extLst>
            </p:cNvPr>
            <p:cNvCxnSpPr>
              <a:cxnSpLocks noChangeShapeType="1"/>
              <a:stCxn id="39" idx="2"/>
              <a:endCxn id="39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783414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525F8A-53F2-489A-8F44-02597E18DE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5201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93" imgH="493" progId="TCLayout.ActiveDocument.1">
                  <p:embed/>
                </p:oleObj>
              </mc:Choice>
              <mc:Fallback>
                <p:oleObj name="think-cell Slide" r:id="rId12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525F8A-53F2-489A-8F44-02597E18D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C3DF86-5F8E-4FBB-8AE3-6984FCB835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de-DE" sz="2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40D2E1BE-5C1A-46F5-BA92-9B91AFC58919}"/>
              </a:ext>
            </a:extLst>
          </p:cNvPr>
          <p:cNvCxnSpPr>
            <a:cxnSpLocks/>
          </p:cNvCxnSpPr>
          <p:nvPr/>
        </p:nvCxnSpPr>
        <p:spPr bwMode="gray">
          <a:xfrm>
            <a:off x="3649976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FD054591-33EA-44E5-B836-DB8103560836}"/>
              </a:ext>
            </a:extLst>
          </p:cNvPr>
          <p:cNvCxnSpPr>
            <a:cxnSpLocks/>
          </p:cNvCxnSpPr>
          <p:nvPr/>
        </p:nvCxnSpPr>
        <p:spPr bwMode="gray">
          <a:xfrm>
            <a:off x="3095708" y="1101062"/>
            <a:ext cx="0" cy="3363615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5A0B5FD-886D-4EB7-A333-66B912CBB7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arstellung der inhaltlichen Umsetzu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D0130F-F776-44E6-BF87-EFB4F509ADE3}"/>
              </a:ext>
            </a:extLst>
          </p:cNvPr>
          <p:cNvSpPr/>
          <p:nvPr/>
        </p:nvSpPr>
        <p:spPr>
          <a:xfrm>
            <a:off x="487362" y="1101062"/>
            <a:ext cx="1469700" cy="33636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029E0264-F59F-4BA0-87AA-F3816914CF90}"/>
              </a:ext>
            </a:extLst>
          </p:cNvPr>
          <p:cNvSpPr txBox="1">
            <a:spLocks/>
          </p:cNvSpPr>
          <p:nvPr/>
        </p:nvSpPr>
        <p:spPr bwMode="gray">
          <a:xfrm>
            <a:off x="487363" y="939485"/>
            <a:ext cx="432557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 der Umsetzung inkl. Meilenstein</a:t>
            </a:r>
          </a:p>
        </p:txBody>
      </p: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CF7E8D3-C5F3-41D0-A046-FADBD4791B72}"/>
              </a:ext>
            </a:extLst>
          </p:cNvPr>
          <p:cNvCxnSpPr>
            <a:cxnSpLocks/>
          </p:cNvCxnSpPr>
          <p:nvPr/>
        </p:nvCxnSpPr>
        <p:spPr bwMode="gray">
          <a:xfrm>
            <a:off x="900342" y="1179666"/>
            <a:ext cx="0" cy="499797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B72A2001-145F-4912-A8C3-30357A43DA07}"/>
              </a:ext>
            </a:extLst>
          </p:cNvPr>
          <p:cNvSpPr txBox="1">
            <a:spLocks/>
          </p:cNvSpPr>
          <p:nvPr/>
        </p:nvSpPr>
        <p:spPr bwMode="gray">
          <a:xfrm>
            <a:off x="980849" y="1194782"/>
            <a:ext cx="962252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kation und Besetzung des Projektteams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92AA2417-2054-497D-A6A1-42715882A36D}"/>
              </a:ext>
            </a:extLst>
          </p:cNvPr>
          <p:cNvCxnSpPr>
            <a:cxnSpLocks/>
          </p:cNvCxnSpPr>
          <p:nvPr/>
        </p:nvCxnSpPr>
        <p:spPr bwMode="gray">
          <a:xfrm>
            <a:off x="900342" y="2493672"/>
            <a:ext cx="0" cy="499797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7" name="Group 46">
            <a:extLst>
              <a:ext uri="{FF2B5EF4-FFF2-40B4-BE49-F238E27FC236}">
                <a16:creationId xmlns:a16="http://schemas.microsoft.com/office/drawing/2014/main" id="{A74B3609-3C01-43E2-8309-CCFE5181CBF5}"/>
              </a:ext>
            </a:extLst>
          </p:cNvPr>
          <p:cNvGrpSpPr>
            <a:grpSpLocks/>
          </p:cNvGrpSpPr>
          <p:nvPr/>
        </p:nvGrpSpPr>
        <p:grpSpPr bwMode="gray">
          <a:xfrm>
            <a:off x="570681" y="1276963"/>
            <a:ext cx="270461" cy="251134"/>
            <a:chOff x="6335762" y="3923525"/>
            <a:chExt cx="808928" cy="667365"/>
          </a:xfrm>
          <a:solidFill>
            <a:schemeClr val="accent4"/>
          </a:solidFill>
        </p:grpSpPr>
        <p:sp>
          <p:nvSpPr>
            <p:cNvPr id="49" name="Freeform 114">
              <a:extLst>
                <a:ext uri="{FF2B5EF4-FFF2-40B4-BE49-F238E27FC236}">
                  <a16:creationId xmlns:a16="http://schemas.microsoft.com/office/drawing/2014/main" id="{585C5E66-EF8C-448E-9682-21F6AAE6D176}"/>
                </a:ext>
              </a:extLst>
            </p:cNvPr>
            <p:cNvSpPr>
              <a:spLocks/>
            </p:cNvSpPr>
            <p:nvPr/>
          </p:nvSpPr>
          <p:spPr bwMode="gray">
            <a:xfrm>
              <a:off x="7023351" y="4143957"/>
              <a:ext cx="91005" cy="91005"/>
            </a:xfrm>
            <a:custGeom>
              <a:avLst/>
              <a:gdLst>
                <a:gd name="T0" fmla="*/ 46 w 90"/>
                <a:gd name="T1" fmla="*/ 0 h 90"/>
                <a:gd name="T2" fmla="*/ 46 w 90"/>
                <a:gd name="T3" fmla="*/ 0 h 90"/>
                <a:gd name="T4" fmla="*/ 36 w 90"/>
                <a:gd name="T5" fmla="*/ 0 h 90"/>
                <a:gd name="T6" fmla="*/ 28 w 90"/>
                <a:gd name="T7" fmla="*/ 2 h 90"/>
                <a:gd name="T8" fmla="*/ 20 w 90"/>
                <a:gd name="T9" fmla="*/ 8 h 90"/>
                <a:gd name="T10" fmla="*/ 14 w 90"/>
                <a:gd name="T11" fmla="*/ 12 h 90"/>
                <a:gd name="T12" fmla="*/ 8 w 90"/>
                <a:gd name="T13" fmla="*/ 20 h 90"/>
                <a:gd name="T14" fmla="*/ 4 w 90"/>
                <a:gd name="T15" fmla="*/ 28 h 90"/>
                <a:gd name="T16" fmla="*/ 2 w 90"/>
                <a:gd name="T17" fmla="*/ 36 h 90"/>
                <a:gd name="T18" fmla="*/ 0 w 90"/>
                <a:gd name="T19" fmla="*/ 44 h 90"/>
                <a:gd name="T20" fmla="*/ 0 w 90"/>
                <a:gd name="T21" fmla="*/ 44 h 90"/>
                <a:gd name="T22" fmla="*/ 2 w 90"/>
                <a:gd name="T23" fmla="*/ 54 h 90"/>
                <a:gd name="T24" fmla="*/ 4 w 90"/>
                <a:gd name="T25" fmla="*/ 62 h 90"/>
                <a:gd name="T26" fmla="*/ 8 w 90"/>
                <a:gd name="T27" fmla="*/ 70 h 90"/>
                <a:gd name="T28" fmla="*/ 14 w 90"/>
                <a:gd name="T29" fmla="*/ 76 h 90"/>
                <a:gd name="T30" fmla="*/ 20 w 90"/>
                <a:gd name="T31" fmla="*/ 82 h 90"/>
                <a:gd name="T32" fmla="*/ 28 w 90"/>
                <a:gd name="T33" fmla="*/ 86 h 90"/>
                <a:gd name="T34" fmla="*/ 36 w 90"/>
                <a:gd name="T35" fmla="*/ 90 h 90"/>
                <a:gd name="T36" fmla="*/ 46 w 90"/>
                <a:gd name="T37" fmla="*/ 90 h 90"/>
                <a:gd name="T38" fmla="*/ 46 w 90"/>
                <a:gd name="T39" fmla="*/ 90 h 90"/>
                <a:gd name="T40" fmla="*/ 54 w 90"/>
                <a:gd name="T41" fmla="*/ 90 h 90"/>
                <a:gd name="T42" fmla="*/ 64 w 90"/>
                <a:gd name="T43" fmla="*/ 86 h 90"/>
                <a:gd name="T44" fmla="*/ 70 w 90"/>
                <a:gd name="T45" fmla="*/ 82 h 90"/>
                <a:gd name="T46" fmla="*/ 78 w 90"/>
                <a:gd name="T47" fmla="*/ 76 h 90"/>
                <a:gd name="T48" fmla="*/ 84 w 90"/>
                <a:gd name="T49" fmla="*/ 70 h 90"/>
                <a:gd name="T50" fmla="*/ 88 w 90"/>
                <a:gd name="T51" fmla="*/ 62 h 90"/>
                <a:gd name="T52" fmla="*/ 90 w 90"/>
                <a:gd name="T53" fmla="*/ 54 h 90"/>
                <a:gd name="T54" fmla="*/ 90 w 90"/>
                <a:gd name="T55" fmla="*/ 44 h 90"/>
                <a:gd name="T56" fmla="*/ 90 w 90"/>
                <a:gd name="T57" fmla="*/ 44 h 90"/>
                <a:gd name="T58" fmla="*/ 90 w 90"/>
                <a:gd name="T59" fmla="*/ 36 h 90"/>
                <a:gd name="T60" fmla="*/ 88 w 90"/>
                <a:gd name="T61" fmla="*/ 28 h 90"/>
                <a:gd name="T62" fmla="*/ 84 w 90"/>
                <a:gd name="T63" fmla="*/ 20 h 90"/>
                <a:gd name="T64" fmla="*/ 78 w 90"/>
                <a:gd name="T65" fmla="*/ 12 h 90"/>
                <a:gd name="T66" fmla="*/ 70 w 90"/>
                <a:gd name="T67" fmla="*/ 8 h 90"/>
                <a:gd name="T68" fmla="*/ 64 w 90"/>
                <a:gd name="T69" fmla="*/ 2 h 90"/>
                <a:gd name="T70" fmla="*/ 54 w 90"/>
                <a:gd name="T71" fmla="*/ 0 h 90"/>
                <a:gd name="T72" fmla="*/ 46 w 90"/>
                <a:gd name="T73" fmla="*/ 0 h 90"/>
                <a:gd name="T74" fmla="*/ 46 w 90"/>
                <a:gd name="T7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" h="90">
                  <a:moveTo>
                    <a:pt x="46" y="0"/>
                  </a:moveTo>
                  <a:lnTo>
                    <a:pt x="46" y="0"/>
                  </a:lnTo>
                  <a:lnTo>
                    <a:pt x="36" y="0"/>
                  </a:lnTo>
                  <a:lnTo>
                    <a:pt x="28" y="2"/>
                  </a:lnTo>
                  <a:lnTo>
                    <a:pt x="20" y="8"/>
                  </a:lnTo>
                  <a:lnTo>
                    <a:pt x="14" y="12"/>
                  </a:lnTo>
                  <a:lnTo>
                    <a:pt x="8" y="20"/>
                  </a:lnTo>
                  <a:lnTo>
                    <a:pt x="4" y="28"/>
                  </a:lnTo>
                  <a:lnTo>
                    <a:pt x="2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54"/>
                  </a:lnTo>
                  <a:lnTo>
                    <a:pt x="4" y="62"/>
                  </a:lnTo>
                  <a:lnTo>
                    <a:pt x="8" y="70"/>
                  </a:lnTo>
                  <a:lnTo>
                    <a:pt x="14" y="76"/>
                  </a:lnTo>
                  <a:lnTo>
                    <a:pt x="20" y="82"/>
                  </a:lnTo>
                  <a:lnTo>
                    <a:pt x="28" y="86"/>
                  </a:lnTo>
                  <a:lnTo>
                    <a:pt x="3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54" y="90"/>
                  </a:lnTo>
                  <a:lnTo>
                    <a:pt x="64" y="86"/>
                  </a:lnTo>
                  <a:lnTo>
                    <a:pt x="70" y="82"/>
                  </a:lnTo>
                  <a:lnTo>
                    <a:pt x="78" y="76"/>
                  </a:lnTo>
                  <a:lnTo>
                    <a:pt x="84" y="70"/>
                  </a:lnTo>
                  <a:lnTo>
                    <a:pt x="88" y="62"/>
                  </a:lnTo>
                  <a:lnTo>
                    <a:pt x="90" y="5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90" y="36"/>
                  </a:lnTo>
                  <a:lnTo>
                    <a:pt x="88" y="28"/>
                  </a:lnTo>
                  <a:lnTo>
                    <a:pt x="84" y="20"/>
                  </a:lnTo>
                  <a:lnTo>
                    <a:pt x="78" y="12"/>
                  </a:lnTo>
                  <a:lnTo>
                    <a:pt x="70" y="8"/>
                  </a:lnTo>
                  <a:lnTo>
                    <a:pt x="64" y="2"/>
                  </a:lnTo>
                  <a:lnTo>
                    <a:pt x="54" y="0"/>
                  </a:lnTo>
                  <a:lnTo>
                    <a:pt x="46" y="0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Freeform 115">
              <a:extLst>
                <a:ext uri="{FF2B5EF4-FFF2-40B4-BE49-F238E27FC236}">
                  <a16:creationId xmlns:a16="http://schemas.microsoft.com/office/drawing/2014/main" id="{E5F92651-A663-49AF-B195-16A5460DBC59}"/>
                </a:ext>
              </a:extLst>
            </p:cNvPr>
            <p:cNvSpPr>
              <a:spLocks/>
            </p:cNvSpPr>
            <p:nvPr/>
          </p:nvSpPr>
          <p:spPr bwMode="gray">
            <a:xfrm>
              <a:off x="6366095" y="4143957"/>
              <a:ext cx="91005" cy="91005"/>
            </a:xfrm>
            <a:custGeom>
              <a:avLst/>
              <a:gdLst>
                <a:gd name="T0" fmla="*/ 44 w 90"/>
                <a:gd name="T1" fmla="*/ 0 h 90"/>
                <a:gd name="T2" fmla="*/ 44 w 90"/>
                <a:gd name="T3" fmla="*/ 0 h 90"/>
                <a:gd name="T4" fmla="*/ 36 w 90"/>
                <a:gd name="T5" fmla="*/ 0 h 90"/>
                <a:gd name="T6" fmla="*/ 26 w 90"/>
                <a:gd name="T7" fmla="*/ 2 h 90"/>
                <a:gd name="T8" fmla="*/ 20 w 90"/>
                <a:gd name="T9" fmla="*/ 8 h 90"/>
                <a:gd name="T10" fmla="*/ 12 w 90"/>
                <a:gd name="T11" fmla="*/ 12 h 90"/>
                <a:gd name="T12" fmla="*/ 6 w 90"/>
                <a:gd name="T13" fmla="*/ 20 h 90"/>
                <a:gd name="T14" fmla="*/ 2 w 90"/>
                <a:gd name="T15" fmla="*/ 28 h 90"/>
                <a:gd name="T16" fmla="*/ 0 w 90"/>
                <a:gd name="T17" fmla="*/ 36 h 90"/>
                <a:gd name="T18" fmla="*/ 0 w 90"/>
                <a:gd name="T19" fmla="*/ 44 h 90"/>
                <a:gd name="T20" fmla="*/ 0 w 90"/>
                <a:gd name="T21" fmla="*/ 44 h 90"/>
                <a:gd name="T22" fmla="*/ 0 w 90"/>
                <a:gd name="T23" fmla="*/ 54 h 90"/>
                <a:gd name="T24" fmla="*/ 2 w 90"/>
                <a:gd name="T25" fmla="*/ 62 h 90"/>
                <a:gd name="T26" fmla="*/ 6 w 90"/>
                <a:gd name="T27" fmla="*/ 70 h 90"/>
                <a:gd name="T28" fmla="*/ 12 w 90"/>
                <a:gd name="T29" fmla="*/ 76 h 90"/>
                <a:gd name="T30" fmla="*/ 20 w 90"/>
                <a:gd name="T31" fmla="*/ 82 h 90"/>
                <a:gd name="T32" fmla="*/ 26 w 90"/>
                <a:gd name="T33" fmla="*/ 86 h 90"/>
                <a:gd name="T34" fmla="*/ 36 w 90"/>
                <a:gd name="T35" fmla="*/ 90 h 90"/>
                <a:gd name="T36" fmla="*/ 44 w 90"/>
                <a:gd name="T37" fmla="*/ 90 h 90"/>
                <a:gd name="T38" fmla="*/ 44 w 90"/>
                <a:gd name="T39" fmla="*/ 90 h 90"/>
                <a:gd name="T40" fmla="*/ 54 w 90"/>
                <a:gd name="T41" fmla="*/ 90 h 90"/>
                <a:gd name="T42" fmla="*/ 62 w 90"/>
                <a:gd name="T43" fmla="*/ 86 h 90"/>
                <a:gd name="T44" fmla="*/ 70 w 90"/>
                <a:gd name="T45" fmla="*/ 82 h 90"/>
                <a:gd name="T46" fmla="*/ 76 w 90"/>
                <a:gd name="T47" fmla="*/ 76 h 90"/>
                <a:gd name="T48" fmla="*/ 82 w 90"/>
                <a:gd name="T49" fmla="*/ 70 h 90"/>
                <a:gd name="T50" fmla="*/ 86 w 90"/>
                <a:gd name="T51" fmla="*/ 62 h 90"/>
                <a:gd name="T52" fmla="*/ 88 w 90"/>
                <a:gd name="T53" fmla="*/ 54 h 90"/>
                <a:gd name="T54" fmla="*/ 90 w 90"/>
                <a:gd name="T55" fmla="*/ 44 h 90"/>
                <a:gd name="T56" fmla="*/ 90 w 90"/>
                <a:gd name="T57" fmla="*/ 44 h 90"/>
                <a:gd name="T58" fmla="*/ 88 w 90"/>
                <a:gd name="T59" fmla="*/ 36 h 90"/>
                <a:gd name="T60" fmla="*/ 86 w 90"/>
                <a:gd name="T61" fmla="*/ 28 h 90"/>
                <a:gd name="T62" fmla="*/ 82 w 90"/>
                <a:gd name="T63" fmla="*/ 20 h 90"/>
                <a:gd name="T64" fmla="*/ 76 w 90"/>
                <a:gd name="T65" fmla="*/ 12 h 90"/>
                <a:gd name="T66" fmla="*/ 70 w 90"/>
                <a:gd name="T67" fmla="*/ 8 h 90"/>
                <a:gd name="T68" fmla="*/ 62 w 90"/>
                <a:gd name="T69" fmla="*/ 2 h 90"/>
                <a:gd name="T70" fmla="*/ 54 w 90"/>
                <a:gd name="T71" fmla="*/ 0 h 90"/>
                <a:gd name="T72" fmla="*/ 44 w 90"/>
                <a:gd name="T73" fmla="*/ 0 h 90"/>
                <a:gd name="T74" fmla="*/ 44 w 90"/>
                <a:gd name="T75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" h="90">
                  <a:moveTo>
                    <a:pt x="44" y="0"/>
                  </a:moveTo>
                  <a:lnTo>
                    <a:pt x="44" y="0"/>
                  </a:lnTo>
                  <a:lnTo>
                    <a:pt x="36" y="0"/>
                  </a:lnTo>
                  <a:lnTo>
                    <a:pt x="26" y="2"/>
                  </a:lnTo>
                  <a:lnTo>
                    <a:pt x="20" y="8"/>
                  </a:lnTo>
                  <a:lnTo>
                    <a:pt x="12" y="12"/>
                  </a:lnTo>
                  <a:lnTo>
                    <a:pt x="6" y="20"/>
                  </a:lnTo>
                  <a:lnTo>
                    <a:pt x="2" y="28"/>
                  </a:lnTo>
                  <a:lnTo>
                    <a:pt x="0" y="36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54"/>
                  </a:lnTo>
                  <a:lnTo>
                    <a:pt x="2" y="62"/>
                  </a:lnTo>
                  <a:lnTo>
                    <a:pt x="6" y="70"/>
                  </a:lnTo>
                  <a:lnTo>
                    <a:pt x="12" y="76"/>
                  </a:lnTo>
                  <a:lnTo>
                    <a:pt x="20" y="82"/>
                  </a:lnTo>
                  <a:lnTo>
                    <a:pt x="26" y="86"/>
                  </a:lnTo>
                  <a:lnTo>
                    <a:pt x="36" y="90"/>
                  </a:lnTo>
                  <a:lnTo>
                    <a:pt x="44" y="90"/>
                  </a:lnTo>
                  <a:lnTo>
                    <a:pt x="44" y="90"/>
                  </a:lnTo>
                  <a:lnTo>
                    <a:pt x="54" y="90"/>
                  </a:lnTo>
                  <a:lnTo>
                    <a:pt x="62" y="86"/>
                  </a:lnTo>
                  <a:lnTo>
                    <a:pt x="70" y="82"/>
                  </a:lnTo>
                  <a:lnTo>
                    <a:pt x="76" y="76"/>
                  </a:lnTo>
                  <a:lnTo>
                    <a:pt x="82" y="70"/>
                  </a:lnTo>
                  <a:lnTo>
                    <a:pt x="86" y="62"/>
                  </a:lnTo>
                  <a:lnTo>
                    <a:pt x="88" y="54"/>
                  </a:lnTo>
                  <a:lnTo>
                    <a:pt x="90" y="44"/>
                  </a:lnTo>
                  <a:lnTo>
                    <a:pt x="90" y="44"/>
                  </a:lnTo>
                  <a:lnTo>
                    <a:pt x="88" y="36"/>
                  </a:lnTo>
                  <a:lnTo>
                    <a:pt x="86" y="28"/>
                  </a:lnTo>
                  <a:lnTo>
                    <a:pt x="82" y="20"/>
                  </a:lnTo>
                  <a:lnTo>
                    <a:pt x="76" y="12"/>
                  </a:lnTo>
                  <a:lnTo>
                    <a:pt x="70" y="8"/>
                  </a:lnTo>
                  <a:lnTo>
                    <a:pt x="62" y="2"/>
                  </a:lnTo>
                  <a:lnTo>
                    <a:pt x="54" y="0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Freeform 116">
              <a:extLst>
                <a:ext uri="{FF2B5EF4-FFF2-40B4-BE49-F238E27FC236}">
                  <a16:creationId xmlns:a16="http://schemas.microsoft.com/office/drawing/2014/main" id="{00538F79-4EAE-4AC8-A38A-50C37C60F491}"/>
                </a:ext>
              </a:extLst>
            </p:cNvPr>
            <p:cNvSpPr>
              <a:spLocks/>
            </p:cNvSpPr>
            <p:nvPr/>
          </p:nvSpPr>
          <p:spPr bwMode="gray">
            <a:xfrm>
              <a:off x="6865609" y="4059021"/>
              <a:ext cx="135496" cy="137518"/>
            </a:xfrm>
            <a:custGeom>
              <a:avLst/>
              <a:gdLst>
                <a:gd name="T0" fmla="*/ 66 w 134"/>
                <a:gd name="T1" fmla="*/ 0 h 136"/>
                <a:gd name="T2" fmla="*/ 66 w 134"/>
                <a:gd name="T3" fmla="*/ 0 h 136"/>
                <a:gd name="T4" fmla="*/ 54 w 134"/>
                <a:gd name="T5" fmla="*/ 2 h 136"/>
                <a:gd name="T6" fmla="*/ 40 w 134"/>
                <a:gd name="T7" fmla="*/ 6 h 136"/>
                <a:gd name="T8" fmla="*/ 30 w 134"/>
                <a:gd name="T9" fmla="*/ 12 h 136"/>
                <a:gd name="T10" fmla="*/ 20 w 134"/>
                <a:gd name="T11" fmla="*/ 20 h 136"/>
                <a:gd name="T12" fmla="*/ 10 w 134"/>
                <a:gd name="T13" fmla="*/ 30 h 136"/>
                <a:gd name="T14" fmla="*/ 4 w 134"/>
                <a:gd name="T15" fmla="*/ 42 h 136"/>
                <a:gd name="T16" fmla="*/ 0 w 134"/>
                <a:gd name="T17" fmla="*/ 54 h 136"/>
                <a:gd name="T18" fmla="*/ 0 w 134"/>
                <a:gd name="T19" fmla="*/ 68 h 136"/>
                <a:gd name="T20" fmla="*/ 0 w 134"/>
                <a:gd name="T21" fmla="*/ 68 h 136"/>
                <a:gd name="T22" fmla="*/ 0 w 134"/>
                <a:gd name="T23" fmla="*/ 82 h 136"/>
                <a:gd name="T24" fmla="*/ 4 w 134"/>
                <a:gd name="T25" fmla="*/ 94 h 136"/>
                <a:gd name="T26" fmla="*/ 10 w 134"/>
                <a:gd name="T27" fmla="*/ 106 h 136"/>
                <a:gd name="T28" fmla="*/ 20 w 134"/>
                <a:gd name="T29" fmla="*/ 116 h 136"/>
                <a:gd name="T30" fmla="*/ 30 w 134"/>
                <a:gd name="T31" fmla="*/ 124 h 136"/>
                <a:gd name="T32" fmla="*/ 40 w 134"/>
                <a:gd name="T33" fmla="*/ 130 h 136"/>
                <a:gd name="T34" fmla="*/ 54 w 134"/>
                <a:gd name="T35" fmla="*/ 134 h 136"/>
                <a:gd name="T36" fmla="*/ 66 w 134"/>
                <a:gd name="T37" fmla="*/ 136 h 136"/>
                <a:gd name="T38" fmla="*/ 66 w 134"/>
                <a:gd name="T39" fmla="*/ 136 h 136"/>
                <a:gd name="T40" fmla="*/ 80 w 134"/>
                <a:gd name="T41" fmla="*/ 134 h 136"/>
                <a:gd name="T42" fmla="*/ 94 w 134"/>
                <a:gd name="T43" fmla="*/ 130 h 136"/>
                <a:gd name="T44" fmla="*/ 104 w 134"/>
                <a:gd name="T45" fmla="*/ 124 h 136"/>
                <a:gd name="T46" fmla="*/ 114 w 134"/>
                <a:gd name="T47" fmla="*/ 116 h 136"/>
                <a:gd name="T48" fmla="*/ 122 w 134"/>
                <a:gd name="T49" fmla="*/ 106 h 136"/>
                <a:gd name="T50" fmla="*/ 128 w 134"/>
                <a:gd name="T51" fmla="*/ 94 h 136"/>
                <a:gd name="T52" fmla="*/ 132 w 134"/>
                <a:gd name="T53" fmla="*/ 82 h 136"/>
                <a:gd name="T54" fmla="*/ 134 w 134"/>
                <a:gd name="T55" fmla="*/ 68 h 136"/>
                <a:gd name="T56" fmla="*/ 134 w 134"/>
                <a:gd name="T57" fmla="*/ 68 h 136"/>
                <a:gd name="T58" fmla="*/ 132 w 134"/>
                <a:gd name="T59" fmla="*/ 54 h 136"/>
                <a:gd name="T60" fmla="*/ 128 w 134"/>
                <a:gd name="T61" fmla="*/ 42 h 136"/>
                <a:gd name="T62" fmla="*/ 122 w 134"/>
                <a:gd name="T63" fmla="*/ 30 h 136"/>
                <a:gd name="T64" fmla="*/ 114 w 134"/>
                <a:gd name="T65" fmla="*/ 20 h 136"/>
                <a:gd name="T66" fmla="*/ 104 w 134"/>
                <a:gd name="T67" fmla="*/ 12 h 136"/>
                <a:gd name="T68" fmla="*/ 94 w 134"/>
                <a:gd name="T69" fmla="*/ 6 h 136"/>
                <a:gd name="T70" fmla="*/ 80 w 134"/>
                <a:gd name="T71" fmla="*/ 2 h 136"/>
                <a:gd name="T72" fmla="*/ 66 w 134"/>
                <a:gd name="T73" fmla="*/ 0 h 136"/>
                <a:gd name="T74" fmla="*/ 66 w 134"/>
                <a:gd name="T75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136">
                  <a:moveTo>
                    <a:pt x="66" y="0"/>
                  </a:moveTo>
                  <a:lnTo>
                    <a:pt x="66" y="0"/>
                  </a:lnTo>
                  <a:lnTo>
                    <a:pt x="54" y="2"/>
                  </a:lnTo>
                  <a:lnTo>
                    <a:pt x="40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0" y="30"/>
                  </a:lnTo>
                  <a:lnTo>
                    <a:pt x="4" y="42"/>
                  </a:lnTo>
                  <a:lnTo>
                    <a:pt x="0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82"/>
                  </a:lnTo>
                  <a:lnTo>
                    <a:pt x="4" y="94"/>
                  </a:lnTo>
                  <a:lnTo>
                    <a:pt x="10" y="106"/>
                  </a:lnTo>
                  <a:lnTo>
                    <a:pt x="20" y="116"/>
                  </a:lnTo>
                  <a:lnTo>
                    <a:pt x="30" y="124"/>
                  </a:lnTo>
                  <a:lnTo>
                    <a:pt x="40" y="130"/>
                  </a:lnTo>
                  <a:lnTo>
                    <a:pt x="54" y="134"/>
                  </a:lnTo>
                  <a:lnTo>
                    <a:pt x="66" y="136"/>
                  </a:lnTo>
                  <a:lnTo>
                    <a:pt x="66" y="136"/>
                  </a:lnTo>
                  <a:lnTo>
                    <a:pt x="80" y="134"/>
                  </a:lnTo>
                  <a:lnTo>
                    <a:pt x="94" y="130"/>
                  </a:lnTo>
                  <a:lnTo>
                    <a:pt x="104" y="124"/>
                  </a:lnTo>
                  <a:lnTo>
                    <a:pt x="114" y="116"/>
                  </a:lnTo>
                  <a:lnTo>
                    <a:pt x="122" y="106"/>
                  </a:lnTo>
                  <a:lnTo>
                    <a:pt x="128" y="94"/>
                  </a:lnTo>
                  <a:lnTo>
                    <a:pt x="132" y="82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2" y="54"/>
                  </a:lnTo>
                  <a:lnTo>
                    <a:pt x="128" y="42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4" y="6"/>
                  </a:lnTo>
                  <a:lnTo>
                    <a:pt x="80" y="2"/>
                  </a:lnTo>
                  <a:lnTo>
                    <a:pt x="66" y="0"/>
                  </a:lnTo>
                  <a:lnTo>
                    <a:pt x="6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Freeform 117">
              <a:extLst>
                <a:ext uri="{FF2B5EF4-FFF2-40B4-BE49-F238E27FC236}">
                  <a16:creationId xmlns:a16="http://schemas.microsoft.com/office/drawing/2014/main" id="{3C4A176D-8392-4123-8C7C-7704E0DA8040}"/>
                </a:ext>
              </a:extLst>
            </p:cNvPr>
            <p:cNvSpPr>
              <a:spLocks/>
            </p:cNvSpPr>
            <p:nvPr/>
          </p:nvSpPr>
          <p:spPr bwMode="gray">
            <a:xfrm>
              <a:off x="7047618" y="4261252"/>
              <a:ext cx="97072" cy="212343"/>
            </a:xfrm>
            <a:custGeom>
              <a:avLst/>
              <a:gdLst>
                <a:gd name="T0" fmla="*/ 96 w 96"/>
                <a:gd name="T1" fmla="*/ 210 h 210"/>
                <a:gd name="T2" fmla="*/ 20 w 96"/>
                <a:gd name="T3" fmla="*/ 210 h 210"/>
                <a:gd name="T4" fmla="*/ 20 w 96"/>
                <a:gd name="T5" fmla="*/ 70 h 210"/>
                <a:gd name="T6" fmla="*/ 20 w 96"/>
                <a:gd name="T7" fmla="*/ 70 h 210"/>
                <a:gd name="T8" fmla="*/ 18 w 96"/>
                <a:gd name="T9" fmla="*/ 52 h 210"/>
                <a:gd name="T10" fmla="*/ 14 w 96"/>
                <a:gd name="T11" fmla="*/ 34 h 210"/>
                <a:gd name="T12" fmla="*/ 8 w 96"/>
                <a:gd name="T13" fmla="*/ 18 h 210"/>
                <a:gd name="T14" fmla="*/ 0 w 96"/>
                <a:gd name="T15" fmla="*/ 4 h 210"/>
                <a:gd name="T16" fmla="*/ 0 w 96"/>
                <a:gd name="T17" fmla="*/ 4 h 210"/>
                <a:gd name="T18" fmla="*/ 10 w 96"/>
                <a:gd name="T19" fmla="*/ 0 h 210"/>
                <a:gd name="T20" fmla="*/ 22 w 96"/>
                <a:gd name="T21" fmla="*/ 0 h 210"/>
                <a:gd name="T22" fmla="*/ 22 w 96"/>
                <a:gd name="T23" fmla="*/ 0 h 210"/>
                <a:gd name="T24" fmla="*/ 36 w 96"/>
                <a:gd name="T25" fmla="*/ 2 h 210"/>
                <a:gd name="T26" fmla="*/ 50 w 96"/>
                <a:gd name="T27" fmla="*/ 6 h 210"/>
                <a:gd name="T28" fmla="*/ 64 w 96"/>
                <a:gd name="T29" fmla="*/ 12 h 210"/>
                <a:gd name="T30" fmla="*/ 74 w 96"/>
                <a:gd name="T31" fmla="*/ 22 h 210"/>
                <a:gd name="T32" fmla="*/ 84 w 96"/>
                <a:gd name="T33" fmla="*/ 32 h 210"/>
                <a:gd name="T34" fmla="*/ 90 w 96"/>
                <a:gd name="T35" fmla="*/ 46 h 210"/>
                <a:gd name="T36" fmla="*/ 94 w 96"/>
                <a:gd name="T37" fmla="*/ 60 h 210"/>
                <a:gd name="T38" fmla="*/ 96 w 96"/>
                <a:gd name="T39" fmla="*/ 74 h 210"/>
                <a:gd name="T40" fmla="*/ 96 w 96"/>
                <a:gd name="T41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6" h="210">
                  <a:moveTo>
                    <a:pt x="96" y="210"/>
                  </a:moveTo>
                  <a:lnTo>
                    <a:pt x="20" y="21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18" y="52"/>
                  </a:lnTo>
                  <a:lnTo>
                    <a:pt x="14" y="34"/>
                  </a:lnTo>
                  <a:lnTo>
                    <a:pt x="8" y="18"/>
                  </a:lnTo>
                  <a:lnTo>
                    <a:pt x="0" y="4"/>
                  </a:lnTo>
                  <a:lnTo>
                    <a:pt x="0" y="4"/>
                  </a:lnTo>
                  <a:lnTo>
                    <a:pt x="10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6" y="2"/>
                  </a:lnTo>
                  <a:lnTo>
                    <a:pt x="50" y="6"/>
                  </a:lnTo>
                  <a:lnTo>
                    <a:pt x="64" y="12"/>
                  </a:lnTo>
                  <a:lnTo>
                    <a:pt x="74" y="22"/>
                  </a:lnTo>
                  <a:lnTo>
                    <a:pt x="84" y="32"/>
                  </a:lnTo>
                  <a:lnTo>
                    <a:pt x="90" y="46"/>
                  </a:lnTo>
                  <a:lnTo>
                    <a:pt x="94" y="60"/>
                  </a:lnTo>
                  <a:lnTo>
                    <a:pt x="96" y="74"/>
                  </a:lnTo>
                  <a:lnTo>
                    <a:pt x="96" y="21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Freeform 118">
              <a:extLst>
                <a:ext uri="{FF2B5EF4-FFF2-40B4-BE49-F238E27FC236}">
                  <a16:creationId xmlns:a16="http://schemas.microsoft.com/office/drawing/2014/main" id="{7B288D7D-44CE-41BA-AFDA-67945E770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479345" y="4059021"/>
              <a:ext cx="135496" cy="137518"/>
            </a:xfrm>
            <a:custGeom>
              <a:avLst/>
              <a:gdLst>
                <a:gd name="T0" fmla="*/ 68 w 134"/>
                <a:gd name="T1" fmla="*/ 0 h 136"/>
                <a:gd name="T2" fmla="*/ 68 w 134"/>
                <a:gd name="T3" fmla="*/ 0 h 136"/>
                <a:gd name="T4" fmla="*/ 54 w 134"/>
                <a:gd name="T5" fmla="*/ 2 h 136"/>
                <a:gd name="T6" fmla="*/ 40 w 134"/>
                <a:gd name="T7" fmla="*/ 6 h 136"/>
                <a:gd name="T8" fmla="*/ 30 w 134"/>
                <a:gd name="T9" fmla="*/ 12 h 136"/>
                <a:gd name="T10" fmla="*/ 20 w 134"/>
                <a:gd name="T11" fmla="*/ 20 h 136"/>
                <a:gd name="T12" fmla="*/ 12 w 134"/>
                <a:gd name="T13" fmla="*/ 30 h 136"/>
                <a:gd name="T14" fmla="*/ 6 w 134"/>
                <a:gd name="T15" fmla="*/ 42 h 136"/>
                <a:gd name="T16" fmla="*/ 2 w 134"/>
                <a:gd name="T17" fmla="*/ 54 h 136"/>
                <a:gd name="T18" fmla="*/ 0 w 134"/>
                <a:gd name="T19" fmla="*/ 68 h 136"/>
                <a:gd name="T20" fmla="*/ 0 w 134"/>
                <a:gd name="T21" fmla="*/ 68 h 136"/>
                <a:gd name="T22" fmla="*/ 2 w 134"/>
                <a:gd name="T23" fmla="*/ 82 h 136"/>
                <a:gd name="T24" fmla="*/ 6 w 134"/>
                <a:gd name="T25" fmla="*/ 94 h 136"/>
                <a:gd name="T26" fmla="*/ 12 w 134"/>
                <a:gd name="T27" fmla="*/ 106 h 136"/>
                <a:gd name="T28" fmla="*/ 20 w 134"/>
                <a:gd name="T29" fmla="*/ 116 h 136"/>
                <a:gd name="T30" fmla="*/ 30 w 134"/>
                <a:gd name="T31" fmla="*/ 124 h 136"/>
                <a:gd name="T32" fmla="*/ 40 w 134"/>
                <a:gd name="T33" fmla="*/ 130 h 136"/>
                <a:gd name="T34" fmla="*/ 54 w 134"/>
                <a:gd name="T35" fmla="*/ 134 h 136"/>
                <a:gd name="T36" fmla="*/ 68 w 134"/>
                <a:gd name="T37" fmla="*/ 136 h 136"/>
                <a:gd name="T38" fmla="*/ 68 w 134"/>
                <a:gd name="T39" fmla="*/ 136 h 136"/>
                <a:gd name="T40" fmla="*/ 80 w 134"/>
                <a:gd name="T41" fmla="*/ 134 h 136"/>
                <a:gd name="T42" fmla="*/ 94 w 134"/>
                <a:gd name="T43" fmla="*/ 130 h 136"/>
                <a:gd name="T44" fmla="*/ 104 w 134"/>
                <a:gd name="T45" fmla="*/ 124 h 136"/>
                <a:gd name="T46" fmla="*/ 114 w 134"/>
                <a:gd name="T47" fmla="*/ 116 h 136"/>
                <a:gd name="T48" fmla="*/ 122 w 134"/>
                <a:gd name="T49" fmla="*/ 106 h 136"/>
                <a:gd name="T50" fmla="*/ 130 w 134"/>
                <a:gd name="T51" fmla="*/ 94 h 136"/>
                <a:gd name="T52" fmla="*/ 134 w 134"/>
                <a:gd name="T53" fmla="*/ 82 h 136"/>
                <a:gd name="T54" fmla="*/ 134 w 134"/>
                <a:gd name="T55" fmla="*/ 68 h 136"/>
                <a:gd name="T56" fmla="*/ 134 w 134"/>
                <a:gd name="T57" fmla="*/ 68 h 136"/>
                <a:gd name="T58" fmla="*/ 134 w 134"/>
                <a:gd name="T59" fmla="*/ 54 h 136"/>
                <a:gd name="T60" fmla="*/ 130 w 134"/>
                <a:gd name="T61" fmla="*/ 42 h 136"/>
                <a:gd name="T62" fmla="*/ 122 w 134"/>
                <a:gd name="T63" fmla="*/ 30 h 136"/>
                <a:gd name="T64" fmla="*/ 114 w 134"/>
                <a:gd name="T65" fmla="*/ 20 h 136"/>
                <a:gd name="T66" fmla="*/ 104 w 134"/>
                <a:gd name="T67" fmla="*/ 12 h 136"/>
                <a:gd name="T68" fmla="*/ 94 w 134"/>
                <a:gd name="T69" fmla="*/ 6 h 136"/>
                <a:gd name="T70" fmla="*/ 80 w 134"/>
                <a:gd name="T71" fmla="*/ 2 h 136"/>
                <a:gd name="T72" fmla="*/ 68 w 134"/>
                <a:gd name="T73" fmla="*/ 0 h 136"/>
                <a:gd name="T74" fmla="*/ 68 w 134"/>
                <a:gd name="T75" fmla="*/ 0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4" h="136">
                  <a:moveTo>
                    <a:pt x="68" y="0"/>
                  </a:moveTo>
                  <a:lnTo>
                    <a:pt x="68" y="0"/>
                  </a:lnTo>
                  <a:lnTo>
                    <a:pt x="54" y="2"/>
                  </a:lnTo>
                  <a:lnTo>
                    <a:pt x="40" y="6"/>
                  </a:lnTo>
                  <a:lnTo>
                    <a:pt x="30" y="12"/>
                  </a:lnTo>
                  <a:lnTo>
                    <a:pt x="20" y="20"/>
                  </a:lnTo>
                  <a:lnTo>
                    <a:pt x="12" y="30"/>
                  </a:lnTo>
                  <a:lnTo>
                    <a:pt x="6" y="42"/>
                  </a:lnTo>
                  <a:lnTo>
                    <a:pt x="2" y="54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2"/>
                  </a:lnTo>
                  <a:lnTo>
                    <a:pt x="6" y="94"/>
                  </a:lnTo>
                  <a:lnTo>
                    <a:pt x="12" y="106"/>
                  </a:lnTo>
                  <a:lnTo>
                    <a:pt x="20" y="116"/>
                  </a:lnTo>
                  <a:lnTo>
                    <a:pt x="30" y="124"/>
                  </a:lnTo>
                  <a:lnTo>
                    <a:pt x="40" y="130"/>
                  </a:lnTo>
                  <a:lnTo>
                    <a:pt x="54" y="134"/>
                  </a:lnTo>
                  <a:lnTo>
                    <a:pt x="68" y="136"/>
                  </a:lnTo>
                  <a:lnTo>
                    <a:pt x="68" y="136"/>
                  </a:lnTo>
                  <a:lnTo>
                    <a:pt x="80" y="134"/>
                  </a:lnTo>
                  <a:lnTo>
                    <a:pt x="94" y="130"/>
                  </a:lnTo>
                  <a:lnTo>
                    <a:pt x="104" y="124"/>
                  </a:lnTo>
                  <a:lnTo>
                    <a:pt x="114" y="116"/>
                  </a:lnTo>
                  <a:lnTo>
                    <a:pt x="122" y="106"/>
                  </a:lnTo>
                  <a:lnTo>
                    <a:pt x="130" y="94"/>
                  </a:lnTo>
                  <a:lnTo>
                    <a:pt x="134" y="82"/>
                  </a:lnTo>
                  <a:lnTo>
                    <a:pt x="134" y="68"/>
                  </a:lnTo>
                  <a:lnTo>
                    <a:pt x="134" y="68"/>
                  </a:lnTo>
                  <a:lnTo>
                    <a:pt x="134" y="54"/>
                  </a:lnTo>
                  <a:lnTo>
                    <a:pt x="130" y="42"/>
                  </a:lnTo>
                  <a:lnTo>
                    <a:pt x="122" y="30"/>
                  </a:lnTo>
                  <a:lnTo>
                    <a:pt x="114" y="20"/>
                  </a:lnTo>
                  <a:lnTo>
                    <a:pt x="104" y="12"/>
                  </a:lnTo>
                  <a:lnTo>
                    <a:pt x="94" y="6"/>
                  </a:lnTo>
                  <a:lnTo>
                    <a:pt x="80" y="2"/>
                  </a:lnTo>
                  <a:lnTo>
                    <a:pt x="68" y="0"/>
                  </a:lnTo>
                  <a:lnTo>
                    <a:pt x="6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Freeform 119">
              <a:extLst>
                <a:ext uri="{FF2B5EF4-FFF2-40B4-BE49-F238E27FC236}">
                  <a16:creationId xmlns:a16="http://schemas.microsoft.com/office/drawing/2014/main" id="{EF60178C-F2E2-4687-B042-FB6078875FA3}"/>
                </a:ext>
              </a:extLst>
            </p:cNvPr>
            <p:cNvSpPr>
              <a:spLocks/>
            </p:cNvSpPr>
            <p:nvPr/>
          </p:nvSpPr>
          <p:spPr bwMode="gray">
            <a:xfrm>
              <a:off x="6335762" y="4261252"/>
              <a:ext cx="97072" cy="212343"/>
            </a:xfrm>
            <a:custGeom>
              <a:avLst/>
              <a:gdLst>
                <a:gd name="T0" fmla="*/ 74 w 96"/>
                <a:gd name="T1" fmla="*/ 0 h 210"/>
                <a:gd name="T2" fmla="*/ 74 w 96"/>
                <a:gd name="T3" fmla="*/ 0 h 210"/>
                <a:gd name="T4" fmla="*/ 86 w 96"/>
                <a:gd name="T5" fmla="*/ 0 h 210"/>
                <a:gd name="T6" fmla="*/ 96 w 96"/>
                <a:gd name="T7" fmla="*/ 4 h 210"/>
                <a:gd name="T8" fmla="*/ 96 w 96"/>
                <a:gd name="T9" fmla="*/ 4 h 210"/>
                <a:gd name="T10" fmla="*/ 88 w 96"/>
                <a:gd name="T11" fmla="*/ 18 h 210"/>
                <a:gd name="T12" fmla="*/ 82 w 96"/>
                <a:gd name="T13" fmla="*/ 34 h 210"/>
                <a:gd name="T14" fmla="*/ 78 w 96"/>
                <a:gd name="T15" fmla="*/ 52 h 210"/>
                <a:gd name="T16" fmla="*/ 76 w 96"/>
                <a:gd name="T17" fmla="*/ 70 h 210"/>
                <a:gd name="T18" fmla="*/ 76 w 96"/>
                <a:gd name="T19" fmla="*/ 210 h 210"/>
                <a:gd name="T20" fmla="*/ 0 w 96"/>
                <a:gd name="T21" fmla="*/ 210 h 210"/>
                <a:gd name="T22" fmla="*/ 0 w 96"/>
                <a:gd name="T23" fmla="*/ 74 h 210"/>
                <a:gd name="T24" fmla="*/ 0 w 96"/>
                <a:gd name="T25" fmla="*/ 74 h 210"/>
                <a:gd name="T26" fmla="*/ 2 w 96"/>
                <a:gd name="T27" fmla="*/ 60 h 210"/>
                <a:gd name="T28" fmla="*/ 6 w 96"/>
                <a:gd name="T29" fmla="*/ 46 h 210"/>
                <a:gd name="T30" fmla="*/ 12 w 96"/>
                <a:gd name="T31" fmla="*/ 32 h 210"/>
                <a:gd name="T32" fmla="*/ 22 w 96"/>
                <a:gd name="T33" fmla="*/ 22 h 210"/>
                <a:gd name="T34" fmla="*/ 32 w 96"/>
                <a:gd name="T35" fmla="*/ 12 h 210"/>
                <a:gd name="T36" fmla="*/ 46 w 96"/>
                <a:gd name="T37" fmla="*/ 6 h 210"/>
                <a:gd name="T38" fmla="*/ 60 w 96"/>
                <a:gd name="T39" fmla="*/ 2 h 210"/>
                <a:gd name="T40" fmla="*/ 74 w 96"/>
                <a:gd name="T41" fmla="*/ 0 h 210"/>
                <a:gd name="T42" fmla="*/ 74 w 96"/>
                <a:gd name="T43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210">
                  <a:moveTo>
                    <a:pt x="74" y="0"/>
                  </a:moveTo>
                  <a:lnTo>
                    <a:pt x="74" y="0"/>
                  </a:lnTo>
                  <a:lnTo>
                    <a:pt x="86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88" y="18"/>
                  </a:lnTo>
                  <a:lnTo>
                    <a:pt x="82" y="34"/>
                  </a:lnTo>
                  <a:lnTo>
                    <a:pt x="78" y="52"/>
                  </a:lnTo>
                  <a:lnTo>
                    <a:pt x="76" y="70"/>
                  </a:lnTo>
                  <a:lnTo>
                    <a:pt x="76" y="210"/>
                  </a:lnTo>
                  <a:lnTo>
                    <a:pt x="0" y="210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60"/>
                  </a:lnTo>
                  <a:lnTo>
                    <a:pt x="6" y="46"/>
                  </a:lnTo>
                  <a:lnTo>
                    <a:pt x="12" y="32"/>
                  </a:lnTo>
                  <a:lnTo>
                    <a:pt x="22" y="22"/>
                  </a:lnTo>
                  <a:lnTo>
                    <a:pt x="32" y="12"/>
                  </a:lnTo>
                  <a:lnTo>
                    <a:pt x="46" y="6"/>
                  </a:lnTo>
                  <a:lnTo>
                    <a:pt x="60" y="2"/>
                  </a:lnTo>
                  <a:lnTo>
                    <a:pt x="74" y="0"/>
                  </a:lnTo>
                  <a:lnTo>
                    <a:pt x="7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Freeform 120">
              <a:extLst>
                <a:ext uri="{FF2B5EF4-FFF2-40B4-BE49-F238E27FC236}">
                  <a16:creationId xmlns:a16="http://schemas.microsoft.com/office/drawing/2014/main" id="{83D90589-5AE9-4624-A6E2-484E08CF249C}"/>
                </a:ext>
              </a:extLst>
            </p:cNvPr>
            <p:cNvSpPr>
              <a:spLocks/>
            </p:cNvSpPr>
            <p:nvPr/>
          </p:nvSpPr>
          <p:spPr bwMode="gray">
            <a:xfrm>
              <a:off x="6639111" y="3923525"/>
              <a:ext cx="202234" cy="202231"/>
            </a:xfrm>
            <a:custGeom>
              <a:avLst/>
              <a:gdLst>
                <a:gd name="T0" fmla="*/ 100 w 200"/>
                <a:gd name="T1" fmla="*/ 0 h 200"/>
                <a:gd name="T2" fmla="*/ 100 w 200"/>
                <a:gd name="T3" fmla="*/ 0 h 200"/>
                <a:gd name="T4" fmla="*/ 80 w 200"/>
                <a:gd name="T5" fmla="*/ 2 h 200"/>
                <a:gd name="T6" fmla="*/ 62 w 200"/>
                <a:gd name="T7" fmla="*/ 8 h 200"/>
                <a:gd name="T8" fmla="*/ 44 w 200"/>
                <a:gd name="T9" fmla="*/ 18 h 200"/>
                <a:gd name="T10" fmla="*/ 30 w 200"/>
                <a:gd name="T11" fmla="*/ 30 h 200"/>
                <a:gd name="T12" fmla="*/ 18 w 200"/>
                <a:gd name="T13" fmla="*/ 44 h 200"/>
                <a:gd name="T14" fmla="*/ 8 w 200"/>
                <a:gd name="T15" fmla="*/ 62 h 200"/>
                <a:gd name="T16" fmla="*/ 2 w 200"/>
                <a:gd name="T17" fmla="*/ 80 h 200"/>
                <a:gd name="T18" fmla="*/ 0 w 200"/>
                <a:gd name="T19" fmla="*/ 100 h 200"/>
                <a:gd name="T20" fmla="*/ 0 w 200"/>
                <a:gd name="T21" fmla="*/ 100 h 200"/>
                <a:gd name="T22" fmla="*/ 2 w 200"/>
                <a:gd name="T23" fmla="*/ 120 h 200"/>
                <a:gd name="T24" fmla="*/ 8 w 200"/>
                <a:gd name="T25" fmla="*/ 138 h 200"/>
                <a:gd name="T26" fmla="*/ 18 w 200"/>
                <a:gd name="T27" fmla="*/ 156 h 200"/>
                <a:gd name="T28" fmla="*/ 30 w 200"/>
                <a:gd name="T29" fmla="*/ 170 h 200"/>
                <a:gd name="T30" fmla="*/ 44 w 200"/>
                <a:gd name="T31" fmla="*/ 182 h 200"/>
                <a:gd name="T32" fmla="*/ 62 w 200"/>
                <a:gd name="T33" fmla="*/ 192 h 200"/>
                <a:gd name="T34" fmla="*/ 80 w 200"/>
                <a:gd name="T35" fmla="*/ 198 h 200"/>
                <a:gd name="T36" fmla="*/ 100 w 200"/>
                <a:gd name="T37" fmla="*/ 200 h 200"/>
                <a:gd name="T38" fmla="*/ 100 w 200"/>
                <a:gd name="T39" fmla="*/ 200 h 200"/>
                <a:gd name="T40" fmla="*/ 120 w 200"/>
                <a:gd name="T41" fmla="*/ 198 h 200"/>
                <a:gd name="T42" fmla="*/ 138 w 200"/>
                <a:gd name="T43" fmla="*/ 192 h 200"/>
                <a:gd name="T44" fmla="*/ 156 w 200"/>
                <a:gd name="T45" fmla="*/ 182 h 200"/>
                <a:gd name="T46" fmla="*/ 170 w 200"/>
                <a:gd name="T47" fmla="*/ 170 h 200"/>
                <a:gd name="T48" fmla="*/ 182 w 200"/>
                <a:gd name="T49" fmla="*/ 156 h 200"/>
                <a:gd name="T50" fmla="*/ 192 w 200"/>
                <a:gd name="T51" fmla="*/ 138 h 200"/>
                <a:gd name="T52" fmla="*/ 198 w 200"/>
                <a:gd name="T53" fmla="*/ 120 h 200"/>
                <a:gd name="T54" fmla="*/ 200 w 200"/>
                <a:gd name="T55" fmla="*/ 100 h 200"/>
                <a:gd name="T56" fmla="*/ 200 w 200"/>
                <a:gd name="T57" fmla="*/ 100 h 200"/>
                <a:gd name="T58" fmla="*/ 198 w 200"/>
                <a:gd name="T59" fmla="*/ 80 h 200"/>
                <a:gd name="T60" fmla="*/ 192 w 200"/>
                <a:gd name="T61" fmla="*/ 62 h 200"/>
                <a:gd name="T62" fmla="*/ 182 w 200"/>
                <a:gd name="T63" fmla="*/ 44 h 200"/>
                <a:gd name="T64" fmla="*/ 170 w 200"/>
                <a:gd name="T65" fmla="*/ 30 h 200"/>
                <a:gd name="T66" fmla="*/ 156 w 200"/>
                <a:gd name="T67" fmla="*/ 18 h 200"/>
                <a:gd name="T68" fmla="*/ 138 w 200"/>
                <a:gd name="T69" fmla="*/ 8 h 200"/>
                <a:gd name="T70" fmla="*/ 120 w 200"/>
                <a:gd name="T71" fmla="*/ 2 h 200"/>
                <a:gd name="T72" fmla="*/ 100 w 200"/>
                <a:gd name="T73" fmla="*/ 0 h 200"/>
                <a:gd name="T74" fmla="*/ 100 w 200"/>
                <a:gd name="T75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lnTo>
                    <a:pt x="100" y="0"/>
                  </a:lnTo>
                  <a:lnTo>
                    <a:pt x="80" y="2"/>
                  </a:lnTo>
                  <a:lnTo>
                    <a:pt x="62" y="8"/>
                  </a:lnTo>
                  <a:lnTo>
                    <a:pt x="44" y="18"/>
                  </a:lnTo>
                  <a:lnTo>
                    <a:pt x="30" y="30"/>
                  </a:lnTo>
                  <a:lnTo>
                    <a:pt x="18" y="44"/>
                  </a:lnTo>
                  <a:lnTo>
                    <a:pt x="8" y="62"/>
                  </a:lnTo>
                  <a:lnTo>
                    <a:pt x="2" y="80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2" y="120"/>
                  </a:lnTo>
                  <a:lnTo>
                    <a:pt x="8" y="138"/>
                  </a:lnTo>
                  <a:lnTo>
                    <a:pt x="18" y="156"/>
                  </a:lnTo>
                  <a:lnTo>
                    <a:pt x="30" y="170"/>
                  </a:lnTo>
                  <a:lnTo>
                    <a:pt x="44" y="182"/>
                  </a:lnTo>
                  <a:lnTo>
                    <a:pt x="62" y="192"/>
                  </a:lnTo>
                  <a:lnTo>
                    <a:pt x="80" y="198"/>
                  </a:lnTo>
                  <a:lnTo>
                    <a:pt x="100" y="200"/>
                  </a:lnTo>
                  <a:lnTo>
                    <a:pt x="100" y="200"/>
                  </a:lnTo>
                  <a:lnTo>
                    <a:pt x="120" y="198"/>
                  </a:lnTo>
                  <a:lnTo>
                    <a:pt x="138" y="192"/>
                  </a:lnTo>
                  <a:lnTo>
                    <a:pt x="156" y="182"/>
                  </a:lnTo>
                  <a:lnTo>
                    <a:pt x="170" y="170"/>
                  </a:lnTo>
                  <a:lnTo>
                    <a:pt x="182" y="156"/>
                  </a:lnTo>
                  <a:lnTo>
                    <a:pt x="192" y="138"/>
                  </a:lnTo>
                  <a:lnTo>
                    <a:pt x="198" y="120"/>
                  </a:lnTo>
                  <a:lnTo>
                    <a:pt x="200" y="100"/>
                  </a:lnTo>
                  <a:lnTo>
                    <a:pt x="200" y="100"/>
                  </a:lnTo>
                  <a:lnTo>
                    <a:pt x="198" y="80"/>
                  </a:lnTo>
                  <a:lnTo>
                    <a:pt x="192" y="62"/>
                  </a:lnTo>
                  <a:lnTo>
                    <a:pt x="182" y="44"/>
                  </a:lnTo>
                  <a:lnTo>
                    <a:pt x="170" y="30"/>
                  </a:lnTo>
                  <a:lnTo>
                    <a:pt x="156" y="18"/>
                  </a:lnTo>
                  <a:lnTo>
                    <a:pt x="138" y="8"/>
                  </a:lnTo>
                  <a:lnTo>
                    <a:pt x="120" y="2"/>
                  </a:lnTo>
                  <a:lnTo>
                    <a:pt x="100" y="0"/>
                  </a:lnTo>
                  <a:lnTo>
                    <a:pt x="10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Freeform 121">
              <a:extLst>
                <a:ext uri="{FF2B5EF4-FFF2-40B4-BE49-F238E27FC236}">
                  <a16:creationId xmlns:a16="http://schemas.microsoft.com/office/drawing/2014/main" id="{DF97565A-A5A0-448F-BBA0-9F288B2EF300}"/>
                </a:ext>
              </a:extLst>
            </p:cNvPr>
            <p:cNvSpPr>
              <a:spLocks/>
            </p:cNvSpPr>
            <p:nvPr/>
          </p:nvSpPr>
          <p:spPr bwMode="gray">
            <a:xfrm>
              <a:off x="6902013" y="4222828"/>
              <a:ext cx="139540" cy="305370"/>
            </a:xfrm>
            <a:custGeom>
              <a:avLst/>
              <a:gdLst>
                <a:gd name="T0" fmla="*/ 138 w 138"/>
                <a:gd name="T1" fmla="*/ 302 h 302"/>
                <a:gd name="T2" fmla="*/ 20 w 138"/>
                <a:gd name="T3" fmla="*/ 302 h 302"/>
                <a:gd name="T4" fmla="*/ 20 w 138"/>
                <a:gd name="T5" fmla="*/ 86 h 302"/>
                <a:gd name="T6" fmla="*/ 20 w 138"/>
                <a:gd name="T7" fmla="*/ 86 h 302"/>
                <a:gd name="T8" fmla="*/ 20 w 138"/>
                <a:gd name="T9" fmla="*/ 64 h 302"/>
                <a:gd name="T10" fmla="*/ 16 w 138"/>
                <a:gd name="T11" fmla="*/ 44 h 302"/>
                <a:gd name="T12" fmla="*/ 8 w 138"/>
                <a:gd name="T13" fmla="*/ 24 h 302"/>
                <a:gd name="T14" fmla="*/ 0 w 138"/>
                <a:gd name="T15" fmla="*/ 4 h 302"/>
                <a:gd name="T16" fmla="*/ 0 w 138"/>
                <a:gd name="T17" fmla="*/ 4 h 302"/>
                <a:gd name="T18" fmla="*/ 16 w 138"/>
                <a:gd name="T19" fmla="*/ 2 h 302"/>
                <a:gd name="T20" fmla="*/ 30 w 138"/>
                <a:gd name="T21" fmla="*/ 0 h 302"/>
                <a:gd name="T22" fmla="*/ 30 w 138"/>
                <a:gd name="T23" fmla="*/ 0 h 302"/>
                <a:gd name="T24" fmla="*/ 52 w 138"/>
                <a:gd name="T25" fmla="*/ 2 h 302"/>
                <a:gd name="T26" fmla="*/ 72 w 138"/>
                <a:gd name="T27" fmla="*/ 8 h 302"/>
                <a:gd name="T28" fmla="*/ 90 w 138"/>
                <a:gd name="T29" fmla="*/ 18 h 302"/>
                <a:gd name="T30" fmla="*/ 106 w 138"/>
                <a:gd name="T31" fmla="*/ 32 h 302"/>
                <a:gd name="T32" fmla="*/ 120 w 138"/>
                <a:gd name="T33" fmla="*/ 48 h 302"/>
                <a:gd name="T34" fmla="*/ 130 w 138"/>
                <a:gd name="T35" fmla="*/ 66 h 302"/>
                <a:gd name="T36" fmla="*/ 136 w 138"/>
                <a:gd name="T37" fmla="*/ 86 h 302"/>
                <a:gd name="T38" fmla="*/ 138 w 138"/>
                <a:gd name="T39" fmla="*/ 108 h 302"/>
                <a:gd name="T40" fmla="*/ 138 w 138"/>
                <a:gd name="T41" fmla="*/ 302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8" h="302">
                  <a:moveTo>
                    <a:pt x="138" y="302"/>
                  </a:moveTo>
                  <a:lnTo>
                    <a:pt x="20" y="302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64"/>
                  </a:lnTo>
                  <a:lnTo>
                    <a:pt x="16" y="44"/>
                  </a:lnTo>
                  <a:lnTo>
                    <a:pt x="8" y="2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6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52" y="2"/>
                  </a:lnTo>
                  <a:lnTo>
                    <a:pt x="72" y="8"/>
                  </a:lnTo>
                  <a:lnTo>
                    <a:pt x="90" y="18"/>
                  </a:lnTo>
                  <a:lnTo>
                    <a:pt x="106" y="32"/>
                  </a:lnTo>
                  <a:lnTo>
                    <a:pt x="120" y="48"/>
                  </a:lnTo>
                  <a:lnTo>
                    <a:pt x="130" y="66"/>
                  </a:lnTo>
                  <a:lnTo>
                    <a:pt x="136" y="86"/>
                  </a:lnTo>
                  <a:lnTo>
                    <a:pt x="138" y="108"/>
                  </a:lnTo>
                  <a:lnTo>
                    <a:pt x="138" y="30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1" name="Freeform 122">
              <a:extLst>
                <a:ext uri="{FF2B5EF4-FFF2-40B4-BE49-F238E27FC236}">
                  <a16:creationId xmlns:a16="http://schemas.microsoft.com/office/drawing/2014/main" id="{28521B14-B105-423D-AB06-767DEBEE19DC}"/>
                </a:ext>
              </a:extLst>
            </p:cNvPr>
            <p:cNvSpPr>
              <a:spLocks/>
            </p:cNvSpPr>
            <p:nvPr/>
          </p:nvSpPr>
          <p:spPr bwMode="gray">
            <a:xfrm>
              <a:off x="6438901" y="4222828"/>
              <a:ext cx="139540" cy="305370"/>
            </a:xfrm>
            <a:custGeom>
              <a:avLst/>
              <a:gdLst>
                <a:gd name="T0" fmla="*/ 118 w 138"/>
                <a:gd name="T1" fmla="*/ 86 h 302"/>
                <a:gd name="T2" fmla="*/ 118 w 138"/>
                <a:gd name="T3" fmla="*/ 302 h 302"/>
                <a:gd name="T4" fmla="*/ 0 w 138"/>
                <a:gd name="T5" fmla="*/ 302 h 302"/>
                <a:gd name="T6" fmla="*/ 0 w 138"/>
                <a:gd name="T7" fmla="*/ 108 h 302"/>
                <a:gd name="T8" fmla="*/ 0 w 138"/>
                <a:gd name="T9" fmla="*/ 108 h 302"/>
                <a:gd name="T10" fmla="*/ 2 w 138"/>
                <a:gd name="T11" fmla="*/ 86 h 302"/>
                <a:gd name="T12" fmla="*/ 8 w 138"/>
                <a:gd name="T13" fmla="*/ 66 h 302"/>
                <a:gd name="T14" fmla="*/ 18 w 138"/>
                <a:gd name="T15" fmla="*/ 48 h 302"/>
                <a:gd name="T16" fmla="*/ 32 w 138"/>
                <a:gd name="T17" fmla="*/ 32 h 302"/>
                <a:gd name="T18" fmla="*/ 46 w 138"/>
                <a:gd name="T19" fmla="*/ 18 h 302"/>
                <a:gd name="T20" fmla="*/ 66 w 138"/>
                <a:gd name="T21" fmla="*/ 8 h 302"/>
                <a:gd name="T22" fmla="*/ 86 w 138"/>
                <a:gd name="T23" fmla="*/ 2 h 302"/>
                <a:gd name="T24" fmla="*/ 108 w 138"/>
                <a:gd name="T25" fmla="*/ 0 h 302"/>
                <a:gd name="T26" fmla="*/ 108 w 138"/>
                <a:gd name="T27" fmla="*/ 0 h 302"/>
                <a:gd name="T28" fmla="*/ 122 w 138"/>
                <a:gd name="T29" fmla="*/ 2 h 302"/>
                <a:gd name="T30" fmla="*/ 138 w 138"/>
                <a:gd name="T31" fmla="*/ 4 h 302"/>
                <a:gd name="T32" fmla="*/ 138 w 138"/>
                <a:gd name="T33" fmla="*/ 4 h 302"/>
                <a:gd name="T34" fmla="*/ 128 w 138"/>
                <a:gd name="T35" fmla="*/ 24 h 302"/>
                <a:gd name="T36" fmla="*/ 122 w 138"/>
                <a:gd name="T37" fmla="*/ 44 h 302"/>
                <a:gd name="T38" fmla="*/ 118 w 138"/>
                <a:gd name="T39" fmla="*/ 64 h 302"/>
                <a:gd name="T40" fmla="*/ 118 w 138"/>
                <a:gd name="T41" fmla="*/ 86 h 302"/>
                <a:gd name="T42" fmla="*/ 118 w 138"/>
                <a:gd name="T43" fmla="*/ 8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8" h="302">
                  <a:moveTo>
                    <a:pt x="118" y="86"/>
                  </a:moveTo>
                  <a:lnTo>
                    <a:pt x="118" y="302"/>
                  </a:lnTo>
                  <a:lnTo>
                    <a:pt x="0" y="302"/>
                  </a:lnTo>
                  <a:lnTo>
                    <a:pt x="0" y="108"/>
                  </a:lnTo>
                  <a:lnTo>
                    <a:pt x="0" y="108"/>
                  </a:lnTo>
                  <a:lnTo>
                    <a:pt x="2" y="86"/>
                  </a:lnTo>
                  <a:lnTo>
                    <a:pt x="8" y="66"/>
                  </a:lnTo>
                  <a:lnTo>
                    <a:pt x="18" y="48"/>
                  </a:lnTo>
                  <a:lnTo>
                    <a:pt x="32" y="32"/>
                  </a:lnTo>
                  <a:lnTo>
                    <a:pt x="46" y="18"/>
                  </a:lnTo>
                  <a:lnTo>
                    <a:pt x="66" y="8"/>
                  </a:lnTo>
                  <a:lnTo>
                    <a:pt x="86" y="2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22" y="2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28" y="24"/>
                  </a:lnTo>
                  <a:lnTo>
                    <a:pt x="122" y="44"/>
                  </a:lnTo>
                  <a:lnTo>
                    <a:pt x="118" y="64"/>
                  </a:lnTo>
                  <a:lnTo>
                    <a:pt x="118" y="86"/>
                  </a:lnTo>
                  <a:lnTo>
                    <a:pt x="118" y="8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2" name="Freeform 123">
              <a:extLst>
                <a:ext uri="{FF2B5EF4-FFF2-40B4-BE49-F238E27FC236}">
                  <a16:creationId xmlns:a16="http://schemas.microsoft.com/office/drawing/2014/main" id="{7007DDBB-F673-48E1-9C00-CE84971327A5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2486" y="4152048"/>
              <a:ext cx="315483" cy="438842"/>
            </a:xfrm>
            <a:custGeom>
              <a:avLst/>
              <a:gdLst>
                <a:gd name="T0" fmla="*/ 0 w 312"/>
                <a:gd name="T1" fmla="*/ 434 h 434"/>
                <a:gd name="T2" fmla="*/ 312 w 312"/>
                <a:gd name="T3" fmla="*/ 434 h 434"/>
                <a:gd name="T4" fmla="*/ 312 w 312"/>
                <a:gd name="T5" fmla="*/ 156 h 434"/>
                <a:gd name="T6" fmla="*/ 312 w 312"/>
                <a:gd name="T7" fmla="*/ 156 h 434"/>
                <a:gd name="T8" fmla="*/ 312 w 312"/>
                <a:gd name="T9" fmla="*/ 140 h 434"/>
                <a:gd name="T10" fmla="*/ 310 w 312"/>
                <a:gd name="T11" fmla="*/ 124 h 434"/>
                <a:gd name="T12" fmla="*/ 306 w 312"/>
                <a:gd name="T13" fmla="*/ 110 h 434"/>
                <a:gd name="T14" fmla="*/ 300 w 312"/>
                <a:gd name="T15" fmla="*/ 96 h 434"/>
                <a:gd name="T16" fmla="*/ 294 w 312"/>
                <a:gd name="T17" fmla="*/ 82 h 434"/>
                <a:gd name="T18" fmla="*/ 286 w 312"/>
                <a:gd name="T19" fmla="*/ 70 h 434"/>
                <a:gd name="T20" fmla="*/ 276 w 312"/>
                <a:gd name="T21" fmla="*/ 58 h 434"/>
                <a:gd name="T22" fmla="*/ 266 w 312"/>
                <a:gd name="T23" fmla="*/ 46 h 434"/>
                <a:gd name="T24" fmla="*/ 256 w 312"/>
                <a:gd name="T25" fmla="*/ 36 h 434"/>
                <a:gd name="T26" fmla="*/ 244 w 312"/>
                <a:gd name="T27" fmla="*/ 26 h 434"/>
                <a:gd name="T28" fmla="*/ 230 w 312"/>
                <a:gd name="T29" fmla="*/ 20 h 434"/>
                <a:gd name="T30" fmla="*/ 216 w 312"/>
                <a:gd name="T31" fmla="*/ 12 h 434"/>
                <a:gd name="T32" fmla="*/ 202 w 312"/>
                <a:gd name="T33" fmla="*/ 8 h 434"/>
                <a:gd name="T34" fmla="*/ 188 w 312"/>
                <a:gd name="T35" fmla="*/ 4 h 434"/>
                <a:gd name="T36" fmla="*/ 172 w 312"/>
                <a:gd name="T37" fmla="*/ 0 h 434"/>
                <a:gd name="T38" fmla="*/ 156 w 312"/>
                <a:gd name="T39" fmla="*/ 0 h 434"/>
                <a:gd name="T40" fmla="*/ 156 w 312"/>
                <a:gd name="T41" fmla="*/ 0 h 434"/>
                <a:gd name="T42" fmla="*/ 140 w 312"/>
                <a:gd name="T43" fmla="*/ 0 h 434"/>
                <a:gd name="T44" fmla="*/ 124 w 312"/>
                <a:gd name="T45" fmla="*/ 4 h 434"/>
                <a:gd name="T46" fmla="*/ 110 w 312"/>
                <a:gd name="T47" fmla="*/ 8 h 434"/>
                <a:gd name="T48" fmla="*/ 96 w 312"/>
                <a:gd name="T49" fmla="*/ 12 h 434"/>
                <a:gd name="T50" fmla="*/ 82 w 312"/>
                <a:gd name="T51" fmla="*/ 20 h 434"/>
                <a:gd name="T52" fmla="*/ 68 w 312"/>
                <a:gd name="T53" fmla="*/ 26 h 434"/>
                <a:gd name="T54" fmla="*/ 56 w 312"/>
                <a:gd name="T55" fmla="*/ 36 h 434"/>
                <a:gd name="T56" fmla="*/ 46 w 312"/>
                <a:gd name="T57" fmla="*/ 46 h 434"/>
                <a:gd name="T58" fmla="*/ 36 w 312"/>
                <a:gd name="T59" fmla="*/ 58 h 434"/>
                <a:gd name="T60" fmla="*/ 26 w 312"/>
                <a:gd name="T61" fmla="*/ 70 h 434"/>
                <a:gd name="T62" fmla="*/ 18 w 312"/>
                <a:gd name="T63" fmla="*/ 82 h 434"/>
                <a:gd name="T64" fmla="*/ 12 w 312"/>
                <a:gd name="T65" fmla="*/ 96 h 434"/>
                <a:gd name="T66" fmla="*/ 6 w 312"/>
                <a:gd name="T67" fmla="*/ 110 h 434"/>
                <a:gd name="T68" fmla="*/ 2 w 312"/>
                <a:gd name="T69" fmla="*/ 124 h 434"/>
                <a:gd name="T70" fmla="*/ 0 w 312"/>
                <a:gd name="T71" fmla="*/ 140 h 434"/>
                <a:gd name="T72" fmla="*/ 0 w 312"/>
                <a:gd name="T73" fmla="*/ 156 h 434"/>
                <a:gd name="T74" fmla="*/ 0 w 312"/>
                <a:gd name="T75" fmla="*/ 434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34">
                  <a:moveTo>
                    <a:pt x="0" y="434"/>
                  </a:moveTo>
                  <a:lnTo>
                    <a:pt x="312" y="434"/>
                  </a:lnTo>
                  <a:lnTo>
                    <a:pt x="312" y="156"/>
                  </a:lnTo>
                  <a:lnTo>
                    <a:pt x="312" y="156"/>
                  </a:lnTo>
                  <a:lnTo>
                    <a:pt x="312" y="140"/>
                  </a:lnTo>
                  <a:lnTo>
                    <a:pt x="310" y="124"/>
                  </a:lnTo>
                  <a:lnTo>
                    <a:pt x="306" y="110"/>
                  </a:lnTo>
                  <a:lnTo>
                    <a:pt x="300" y="96"/>
                  </a:lnTo>
                  <a:lnTo>
                    <a:pt x="294" y="82"/>
                  </a:lnTo>
                  <a:lnTo>
                    <a:pt x="286" y="70"/>
                  </a:lnTo>
                  <a:lnTo>
                    <a:pt x="276" y="58"/>
                  </a:lnTo>
                  <a:lnTo>
                    <a:pt x="266" y="46"/>
                  </a:lnTo>
                  <a:lnTo>
                    <a:pt x="256" y="36"/>
                  </a:lnTo>
                  <a:lnTo>
                    <a:pt x="244" y="26"/>
                  </a:lnTo>
                  <a:lnTo>
                    <a:pt x="230" y="20"/>
                  </a:lnTo>
                  <a:lnTo>
                    <a:pt x="216" y="12"/>
                  </a:lnTo>
                  <a:lnTo>
                    <a:pt x="202" y="8"/>
                  </a:lnTo>
                  <a:lnTo>
                    <a:pt x="188" y="4"/>
                  </a:lnTo>
                  <a:lnTo>
                    <a:pt x="172" y="0"/>
                  </a:lnTo>
                  <a:lnTo>
                    <a:pt x="156" y="0"/>
                  </a:lnTo>
                  <a:lnTo>
                    <a:pt x="156" y="0"/>
                  </a:lnTo>
                  <a:lnTo>
                    <a:pt x="140" y="0"/>
                  </a:lnTo>
                  <a:lnTo>
                    <a:pt x="124" y="4"/>
                  </a:lnTo>
                  <a:lnTo>
                    <a:pt x="110" y="8"/>
                  </a:lnTo>
                  <a:lnTo>
                    <a:pt x="96" y="12"/>
                  </a:lnTo>
                  <a:lnTo>
                    <a:pt x="82" y="20"/>
                  </a:lnTo>
                  <a:lnTo>
                    <a:pt x="68" y="26"/>
                  </a:lnTo>
                  <a:lnTo>
                    <a:pt x="56" y="36"/>
                  </a:lnTo>
                  <a:lnTo>
                    <a:pt x="46" y="46"/>
                  </a:lnTo>
                  <a:lnTo>
                    <a:pt x="36" y="58"/>
                  </a:lnTo>
                  <a:lnTo>
                    <a:pt x="26" y="70"/>
                  </a:lnTo>
                  <a:lnTo>
                    <a:pt x="18" y="82"/>
                  </a:lnTo>
                  <a:lnTo>
                    <a:pt x="12" y="96"/>
                  </a:lnTo>
                  <a:lnTo>
                    <a:pt x="6" y="110"/>
                  </a:lnTo>
                  <a:lnTo>
                    <a:pt x="2" y="124"/>
                  </a:lnTo>
                  <a:lnTo>
                    <a:pt x="0" y="140"/>
                  </a:lnTo>
                  <a:lnTo>
                    <a:pt x="0" y="156"/>
                  </a:lnTo>
                  <a:lnTo>
                    <a:pt x="0" y="43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CADEFDD2-1FD8-4664-AA12-4594944AEBDE}"/>
              </a:ext>
            </a:extLst>
          </p:cNvPr>
          <p:cNvSpPr txBox="1">
            <a:spLocks/>
          </p:cNvSpPr>
          <p:nvPr/>
        </p:nvSpPr>
        <p:spPr bwMode="gray">
          <a:xfrm>
            <a:off x="980849" y="2502408"/>
            <a:ext cx="962252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üfung Leistungs-verschiebung</a:t>
            </a: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02F995D-5760-49BC-BEBB-81FF0D1E2984}"/>
              </a:ext>
            </a:extLst>
          </p:cNvPr>
          <p:cNvCxnSpPr>
            <a:cxnSpLocks/>
          </p:cNvCxnSpPr>
          <p:nvPr/>
        </p:nvCxnSpPr>
        <p:spPr bwMode="gray">
          <a:xfrm>
            <a:off x="900342" y="3150674"/>
            <a:ext cx="0" cy="499797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6E3138F2-056B-4A9C-8CF0-351702C6ACAA}"/>
              </a:ext>
            </a:extLst>
          </p:cNvPr>
          <p:cNvSpPr txBox="1">
            <a:spLocks/>
          </p:cNvSpPr>
          <p:nvPr/>
        </p:nvSpPr>
        <p:spPr bwMode="gray">
          <a:xfrm>
            <a:off x="980849" y="3988326"/>
            <a:ext cx="96225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671496" eaLnBrk="1" hangingPunct="1">
              <a:buClr>
                <a:schemeClr val="tx2"/>
              </a:buClr>
              <a:defRPr sz="1200" b="1" baseline="0">
                <a:solidFill>
                  <a:schemeClr val="accent4"/>
                </a:solidFill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Steuerung</a:t>
            </a:r>
          </a:p>
        </p:txBody>
      </p: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A51A2B4A-BCBF-44F7-9271-E3F13202DC56}"/>
              </a:ext>
            </a:extLst>
          </p:cNvPr>
          <p:cNvCxnSpPr>
            <a:cxnSpLocks/>
          </p:cNvCxnSpPr>
          <p:nvPr/>
        </p:nvCxnSpPr>
        <p:spPr bwMode="gray">
          <a:xfrm>
            <a:off x="900342" y="3807677"/>
            <a:ext cx="0" cy="499797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Group 122">
            <a:extLst>
              <a:ext uri="{FF2B5EF4-FFF2-40B4-BE49-F238E27FC236}">
                <a16:creationId xmlns:a16="http://schemas.microsoft.com/office/drawing/2014/main" id="{B4DC1FFC-6E68-4D53-BAF2-F976174DCF6F}"/>
              </a:ext>
            </a:extLst>
          </p:cNvPr>
          <p:cNvGrpSpPr/>
          <p:nvPr/>
        </p:nvGrpSpPr>
        <p:grpSpPr>
          <a:xfrm>
            <a:off x="545924" y="3947237"/>
            <a:ext cx="319977" cy="220675"/>
            <a:chOff x="612383" y="4718172"/>
            <a:chExt cx="746725" cy="444477"/>
          </a:xfrm>
        </p:grpSpPr>
        <p:sp>
          <p:nvSpPr>
            <p:cNvPr id="124" name="Oval 87">
              <a:extLst>
                <a:ext uri="{FF2B5EF4-FFF2-40B4-BE49-F238E27FC236}">
                  <a16:creationId xmlns:a16="http://schemas.microsoft.com/office/drawing/2014/main" id="{3A1AEB6E-66F2-420A-B7C5-938C39CC3A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3517" y="4718172"/>
              <a:ext cx="127416" cy="136307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Freeform 88">
              <a:extLst>
                <a:ext uri="{FF2B5EF4-FFF2-40B4-BE49-F238E27FC236}">
                  <a16:creationId xmlns:a16="http://schemas.microsoft.com/office/drawing/2014/main" id="{45A61836-99C0-4F46-92B3-2AA2C7A0C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6131" y="4807068"/>
              <a:ext cx="133343" cy="148160"/>
            </a:xfrm>
            <a:custGeom>
              <a:avLst/>
              <a:gdLst>
                <a:gd name="T0" fmla="*/ 10 w 33"/>
                <a:gd name="T1" fmla="*/ 35 h 37"/>
                <a:gd name="T2" fmla="*/ 33 w 33"/>
                <a:gd name="T3" fmla="*/ 17 h 37"/>
                <a:gd name="T4" fmla="*/ 23 w 33"/>
                <a:gd name="T5" fmla="*/ 1 h 37"/>
                <a:gd name="T6" fmla="*/ 17 w 33"/>
                <a:gd name="T7" fmla="*/ 0 h 37"/>
                <a:gd name="T8" fmla="*/ 0 w 33"/>
                <a:gd name="T9" fmla="*/ 16 h 37"/>
                <a:gd name="T10" fmla="*/ 10 w 33"/>
                <a:gd name="T11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7">
                  <a:moveTo>
                    <a:pt x="10" y="35"/>
                  </a:moveTo>
                  <a:cubicBezTo>
                    <a:pt x="18" y="37"/>
                    <a:pt x="33" y="26"/>
                    <a:pt x="33" y="17"/>
                  </a:cubicBezTo>
                  <a:cubicBezTo>
                    <a:pt x="33" y="10"/>
                    <a:pt x="29" y="3"/>
                    <a:pt x="23" y="1"/>
                  </a:cubicBezTo>
                  <a:cubicBezTo>
                    <a:pt x="21" y="0"/>
                    <a:pt x="19" y="0"/>
                    <a:pt x="17" y="0"/>
                  </a:cubicBezTo>
                  <a:cubicBezTo>
                    <a:pt x="8" y="0"/>
                    <a:pt x="1" y="7"/>
                    <a:pt x="0" y="16"/>
                  </a:cubicBezTo>
                  <a:cubicBezTo>
                    <a:pt x="0" y="23"/>
                    <a:pt x="3" y="33"/>
                    <a:pt x="10" y="3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90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Freeform 89">
              <a:extLst>
                <a:ext uri="{FF2B5EF4-FFF2-40B4-BE49-F238E27FC236}">
                  <a16:creationId xmlns:a16="http://schemas.microsoft.com/office/drawing/2014/main" id="{64581CB5-082C-4063-AA02-66822D3B843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27" y="4872258"/>
              <a:ext cx="257797" cy="136307"/>
            </a:xfrm>
            <a:custGeom>
              <a:avLst/>
              <a:gdLst>
                <a:gd name="T0" fmla="*/ 32 w 64"/>
                <a:gd name="T1" fmla="*/ 34 h 34"/>
                <a:gd name="T2" fmla="*/ 62 w 64"/>
                <a:gd name="T3" fmla="*/ 34 h 34"/>
                <a:gd name="T4" fmla="*/ 64 w 64"/>
                <a:gd name="T5" fmla="*/ 18 h 34"/>
                <a:gd name="T6" fmla="*/ 55 w 64"/>
                <a:gd name="T7" fmla="*/ 4 h 34"/>
                <a:gd name="T8" fmla="*/ 41 w 64"/>
                <a:gd name="T9" fmla="*/ 0 h 34"/>
                <a:gd name="T10" fmla="*/ 32 w 64"/>
                <a:gd name="T11" fmla="*/ 26 h 34"/>
                <a:gd name="T12" fmla="*/ 23 w 64"/>
                <a:gd name="T13" fmla="*/ 0 h 34"/>
                <a:gd name="T14" fmla="*/ 9 w 64"/>
                <a:gd name="T15" fmla="*/ 4 h 34"/>
                <a:gd name="T16" fmla="*/ 0 w 64"/>
                <a:gd name="T17" fmla="*/ 18 h 34"/>
                <a:gd name="T18" fmla="*/ 2 w 64"/>
                <a:gd name="T19" fmla="*/ 34 h 34"/>
                <a:gd name="T20" fmla="*/ 32 w 64"/>
                <a:gd name="T21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4" h="34">
                  <a:moveTo>
                    <a:pt x="32" y="34"/>
                  </a:moveTo>
                  <a:cubicBezTo>
                    <a:pt x="62" y="34"/>
                    <a:pt x="62" y="34"/>
                    <a:pt x="62" y="34"/>
                  </a:cubicBezTo>
                  <a:cubicBezTo>
                    <a:pt x="63" y="28"/>
                    <a:pt x="64" y="24"/>
                    <a:pt x="64" y="18"/>
                  </a:cubicBezTo>
                  <a:cubicBezTo>
                    <a:pt x="64" y="7"/>
                    <a:pt x="55" y="4"/>
                    <a:pt x="55" y="4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0" y="7"/>
                    <a:pt x="0" y="18"/>
                  </a:cubicBezTo>
                  <a:cubicBezTo>
                    <a:pt x="0" y="24"/>
                    <a:pt x="1" y="28"/>
                    <a:pt x="2" y="34"/>
                  </a:cubicBezTo>
                  <a:lnTo>
                    <a:pt x="32" y="3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Freeform 90">
              <a:extLst>
                <a:ext uri="{FF2B5EF4-FFF2-40B4-BE49-F238E27FC236}">
                  <a16:creationId xmlns:a16="http://schemas.microsoft.com/office/drawing/2014/main" id="{C0EFBC8B-D415-4A7B-BA33-3C503B01F11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977" y="4807068"/>
              <a:ext cx="133343" cy="148160"/>
            </a:xfrm>
            <a:custGeom>
              <a:avLst/>
              <a:gdLst>
                <a:gd name="T0" fmla="*/ 23 w 33"/>
                <a:gd name="T1" fmla="*/ 35 h 37"/>
                <a:gd name="T2" fmla="*/ 33 w 33"/>
                <a:gd name="T3" fmla="*/ 16 h 37"/>
                <a:gd name="T4" fmla="*/ 16 w 33"/>
                <a:gd name="T5" fmla="*/ 0 h 37"/>
                <a:gd name="T6" fmla="*/ 10 w 33"/>
                <a:gd name="T7" fmla="*/ 1 h 37"/>
                <a:gd name="T8" fmla="*/ 0 w 33"/>
                <a:gd name="T9" fmla="*/ 17 h 37"/>
                <a:gd name="T10" fmla="*/ 23 w 33"/>
                <a:gd name="T11" fmla="*/ 35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37">
                  <a:moveTo>
                    <a:pt x="23" y="35"/>
                  </a:moveTo>
                  <a:cubicBezTo>
                    <a:pt x="30" y="33"/>
                    <a:pt x="33" y="23"/>
                    <a:pt x="33" y="16"/>
                  </a:cubicBezTo>
                  <a:cubicBezTo>
                    <a:pt x="32" y="7"/>
                    <a:pt x="25" y="0"/>
                    <a:pt x="16" y="0"/>
                  </a:cubicBezTo>
                  <a:cubicBezTo>
                    <a:pt x="14" y="0"/>
                    <a:pt x="12" y="0"/>
                    <a:pt x="10" y="1"/>
                  </a:cubicBezTo>
                  <a:cubicBezTo>
                    <a:pt x="4" y="3"/>
                    <a:pt x="0" y="10"/>
                    <a:pt x="0" y="17"/>
                  </a:cubicBezTo>
                  <a:cubicBezTo>
                    <a:pt x="0" y="26"/>
                    <a:pt x="15" y="37"/>
                    <a:pt x="23" y="35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Freeform 91">
              <a:extLst>
                <a:ext uri="{FF2B5EF4-FFF2-40B4-BE49-F238E27FC236}">
                  <a16:creationId xmlns:a16="http://schemas.microsoft.com/office/drawing/2014/main" id="{C9A8DECC-96A3-4196-BFC8-4016DD65549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383" y="4952263"/>
              <a:ext cx="746725" cy="210386"/>
            </a:xfrm>
            <a:custGeom>
              <a:avLst/>
              <a:gdLst>
                <a:gd name="T0" fmla="*/ 183 w 186"/>
                <a:gd name="T1" fmla="*/ 21 h 52"/>
                <a:gd name="T2" fmla="*/ 167 w 186"/>
                <a:gd name="T3" fmla="*/ 3 h 52"/>
                <a:gd name="T4" fmla="*/ 150 w 186"/>
                <a:gd name="T5" fmla="*/ 18 h 52"/>
                <a:gd name="T6" fmla="*/ 148 w 186"/>
                <a:gd name="T7" fmla="*/ 0 h 52"/>
                <a:gd name="T8" fmla="*/ 135 w 186"/>
                <a:gd name="T9" fmla="*/ 18 h 52"/>
                <a:gd name="T10" fmla="*/ 147 w 186"/>
                <a:gd name="T11" fmla="*/ 36 h 52"/>
                <a:gd name="T12" fmla="*/ 135 w 186"/>
                <a:gd name="T13" fmla="*/ 39 h 52"/>
                <a:gd name="T14" fmla="*/ 126 w 186"/>
                <a:gd name="T15" fmla="*/ 25 h 52"/>
                <a:gd name="T16" fmla="*/ 93 w 186"/>
                <a:gd name="T17" fmla="*/ 25 h 52"/>
                <a:gd name="T18" fmla="*/ 60 w 186"/>
                <a:gd name="T19" fmla="*/ 25 h 52"/>
                <a:gd name="T20" fmla="*/ 51 w 186"/>
                <a:gd name="T21" fmla="*/ 39 h 52"/>
                <a:gd name="T22" fmla="*/ 39 w 186"/>
                <a:gd name="T23" fmla="*/ 36 h 52"/>
                <a:gd name="T24" fmla="*/ 51 w 186"/>
                <a:gd name="T25" fmla="*/ 18 h 52"/>
                <a:gd name="T26" fmla="*/ 38 w 186"/>
                <a:gd name="T27" fmla="*/ 0 h 52"/>
                <a:gd name="T28" fmla="*/ 36 w 186"/>
                <a:gd name="T29" fmla="*/ 18 h 52"/>
                <a:gd name="T30" fmla="*/ 19 w 186"/>
                <a:gd name="T31" fmla="*/ 3 h 52"/>
                <a:gd name="T32" fmla="*/ 3 w 186"/>
                <a:gd name="T33" fmla="*/ 21 h 52"/>
                <a:gd name="T34" fmla="*/ 3 w 186"/>
                <a:gd name="T35" fmla="*/ 52 h 52"/>
                <a:gd name="T36" fmla="*/ 93 w 186"/>
                <a:gd name="T37" fmla="*/ 52 h 52"/>
                <a:gd name="T38" fmla="*/ 183 w 186"/>
                <a:gd name="T39" fmla="*/ 52 h 52"/>
                <a:gd name="T40" fmla="*/ 183 w 186"/>
                <a:gd name="T41" fmla="*/ 2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52">
                  <a:moveTo>
                    <a:pt x="183" y="21"/>
                  </a:moveTo>
                  <a:cubicBezTo>
                    <a:pt x="180" y="5"/>
                    <a:pt x="167" y="3"/>
                    <a:pt x="167" y="3"/>
                  </a:cubicBezTo>
                  <a:cubicBezTo>
                    <a:pt x="150" y="18"/>
                    <a:pt x="150" y="18"/>
                    <a:pt x="150" y="18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32" y="6"/>
                    <a:pt x="135" y="18"/>
                    <a:pt x="135" y="18"/>
                  </a:cubicBezTo>
                  <a:cubicBezTo>
                    <a:pt x="147" y="36"/>
                    <a:pt x="147" y="36"/>
                    <a:pt x="147" y="36"/>
                  </a:cubicBezTo>
                  <a:cubicBezTo>
                    <a:pt x="135" y="39"/>
                    <a:pt x="135" y="39"/>
                    <a:pt x="135" y="39"/>
                  </a:cubicBezTo>
                  <a:cubicBezTo>
                    <a:pt x="126" y="25"/>
                    <a:pt x="126" y="25"/>
                    <a:pt x="126" y="25"/>
                  </a:cubicBezTo>
                  <a:cubicBezTo>
                    <a:pt x="93" y="25"/>
                    <a:pt x="93" y="25"/>
                    <a:pt x="93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51" y="39"/>
                    <a:pt x="51" y="39"/>
                    <a:pt x="51" y="39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51" y="18"/>
                    <a:pt x="51" y="18"/>
                    <a:pt x="51" y="18"/>
                  </a:cubicBezTo>
                  <a:cubicBezTo>
                    <a:pt x="51" y="18"/>
                    <a:pt x="54" y="6"/>
                    <a:pt x="38" y="0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6" y="5"/>
                    <a:pt x="3" y="21"/>
                  </a:cubicBezTo>
                  <a:cubicBezTo>
                    <a:pt x="0" y="37"/>
                    <a:pt x="3" y="52"/>
                    <a:pt x="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183" y="52"/>
                    <a:pt x="183" y="52"/>
                    <a:pt x="183" y="52"/>
                  </a:cubicBezTo>
                  <a:cubicBezTo>
                    <a:pt x="183" y="52"/>
                    <a:pt x="186" y="37"/>
                    <a:pt x="183" y="21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ABBEDC18-32F5-4608-9CD8-AACC0A525229}"/>
              </a:ext>
            </a:extLst>
          </p:cNvPr>
          <p:cNvSpPr txBox="1">
            <a:spLocks/>
          </p:cNvSpPr>
          <p:nvPr/>
        </p:nvSpPr>
        <p:spPr bwMode="gray">
          <a:xfrm>
            <a:off x="980849" y="2026903"/>
            <a:ext cx="96225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-Analyse</a:t>
            </a:r>
          </a:p>
        </p:txBody>
      </p:sp>
      <p:sp>
        <p:nvSpPr>
          <p:cNvPr id="145" name="Freeform 36">
            <a:extLst>
              <a:ext uri="{FF2B5EF4-FFF2-40B4-BE49-F238E27FC236}">
                <a16:creationId xmlns:a16="http://schemas.microsoft.com/office/drawing/2014/main" id="{AB8C5F37-D86F-4270-AA3D-3A787159832D}"/>
              </a:ext>
            </a:extLst>
          </p:cNvPr>
          <p:cNvSpPr>
            <a:spLocks noEditPoints="1"/>
          </p:cNvSpPr>
          <p:nvPr/>
        </p:nvSpPr>
        <p:spPr bwMode="gray">
          <a:xfrm>
            <a:off x="575341" y="1890829"/>
            <a:ext cx="261142" cy="410645"/>
          </a:xfrm>
          <a:custGeom>
            <a:avLst/>
            <a:gdLst>
              <a:gd name="T0" fmla="*/ 1403350 w 2506"/>
              <a:gd name="T1" fmla="*/ 5121275 h 3396"/>
              <a:gd name="T2" fmla="*/ 1196975 w 2506"/>
              <a:gd name="T3" fmla="*/ 5048250 h 3396"/>
              <a:gd name="T4" fmla="*/ 1106488 w 2506"/>
              <a:gd name="T5" fmla="*/ 5138738 h 3396"/>
              <a:gd name="T6" fmla="*/ 674688 w 2506"/>
              <a:gd name="T7" fmla="*/ 5148263 h 3396"/>
              <a:gd name="T8" fmla="*/ 809625 w 2506"/>
              <a:gd name="T9" fmla="*/ 4437063 h 3396"/>
              <a:gd name="T10" fmla="*/ 765175 w 2506"/>
              <a:gd name="T11" fmla="*/ 4148138 h 3396"/>
              <a:gd name="T12" fmla="*/ 368300 w 2506"/>
              <a:gd name="T13" fmla="*/ 4059238 h 3396"/>
              <a:gd name="T14" fmla="*/ 215900 w 2506"/>
              <a:gd name="T15" fmla="*/ 3681413 h 3396"/>
              <a:gd name="T16" fmla="*/ 107950 w 2506"/>
              <a:gd name="T17" fmla="*/ 3311525 h 3396"/>
              <a:gd name="T18" fmla="*/ 90488 w 2506"/>
              <a:gd name="T19" fmla="*/ 2960688 h 3396"/>
              <a:gd name="T20" fmla="*/ 144463 w 2506"/>
              <a:gd name="T21" fmla="*/ 2636838 h 3396"/>
              <a:gd name="T22" fmla="*/ 152400 w 2506"/>
              <a:gd name="T23" fmla="*/ 2168525 h 3396"/>
              <a:gd name="T24" fmla="*/ 522288 w 2506"/>
              <a:gd name="T25" fmla="*/ 1943100 h 3396"/>
              <a:gd name="T26" fmla="*/ 630238 w 2506"/>
              <a:gd name="T27" fmla="*/ 1304925 h 3396"/>
              <a:gd name="T28" fmla="*/ 665163 w 2506"/>
              <a:gd name="T29" fmla="*/ 944563 h 3396"/>
              <a:gd name="T30" fmla="*/ 1098550 w 2506"/>
              <a:gd name="T31" fmla="*/ 1062038 h 3396"/>
              <a:gd name="T32" fmla="*/ 1187450 w 2506"/>
              <a:gd name="T33" fmla="*/ 908050 h 3396"/>
              <a:gd name="T34" fmla="*/ 1655763 w 2506"/>
              <a:gd name="T35" fmla="*/ 1044575 h 3396"/>
              <a:gd name="T36" fmla="*/ 1376363 w 2506"/>
              <a:gd name="T37" fmla="*/ 800100 h 3396"/>
              <a:gd name="T38" fmla="*/ 1268413 w 2506"/>
              <a:gd name="T39" fmla="*/ 539750 h 3396"/>
              <a:gd name="T40" fmla="*/ 1331913 w 2506"/>
              <a:gd name="T41" fmla="*/ 377825 h 3396"/>
              <a:gd name="T42" fmla="*/ 1233488 w 2506"/>
              <a:gd name="T43" fmla="*/ 117475 h 3396"/>
              <a:gd name="T44" fmla="*/ 1206500 w 2506"/>
              <a:gd name="T45" fmla="*/ 117475 h 3396"/>
              <a:gd name="T46" fmla="*/ 1665288 w 2506"/>
              <a:gd name="T47" fmla="*/ 171450 h 3396"/>
              <a:gd name="T48" fmla="*/ 1862138 w 2506"/>
              <a:gd name="T49" fmla="*/ 468313 h 3396"/>
              <a:gd name="T50" fmla="*/ 2195513 w 2506"/>
              <a:gd name="T51" fmla="*/ 468313 h 3396"/>
              <a:gd name="T52" fmla="*/ 2160588 w 2506"/>
              <a:gd name="T53" fmla="*/ 792163 h 3396"/>
              <a:gd name="T54" fmla="*/ 2411413 w 2506"/>
              <a:gd name="T55" fmla="*/ 711200 h 3396"/>
              <a:gd name="T56" fmla="*/ 2654300 w 2506"/>
              <a:gd name="T57" fmla="*/ 603250 h 3396"/>
              <a:gd name="T58" fmla="*/ 2852738 w 2506"/>
              <a:gd name="T59" fmla="*/ 431800 h 3396"/>
              <a:gd name="T60" fmla="*/ 2924175 w 2506"/>
              <a:gd name="T61" fmla="*/ 468313 h 3396"/>
              <a:gd name="T62" fmla="*/ 3203575 w 2506"/>
              <a:gd name="T63" fmla="*/ 638175 h 3396"/>
              <a:gd name="T64" fmla="*/ 3455988 w 2506"/>
              <a:gd name="T65" fmla="*/ 863600 h 3396"/>
              <a:gd name="T66" fmla="*/ 3608388 w 2506"/>
              <a:gd name="T67" fmla="*/ 1314450 h 3396"/>
              <a:gd name="T68" fmla="*/ 3735388 w 2506"/>
              <a:gd name="T69" fmla="*/ 1844675 h 3396"/>
              <a:gd name="T70" fmla="*/ 3824288 w 2506"/>
              <a:gd name="T71" fmla="*/ 2366963 h 3396"/>
              <a:gd name="T72" fmla="*/ 3924300 w 2506"/>
              <a:gd name="T73" fmla="*/ 2771775 h 3396"/>
              <a:gd name="T74" fmla="*/ 3671888 w 2506"/>
              <a:gd name="T75" fmla="*/ 2781300 h 3396"/>
              <a:gd name="T76" fmla="*/ 3303588 w 2506"/>
              <a:gd name="T77" fmla="*/ 3041650 h 3396"/>
              <a:gd name="T78" fmla="*/ 2862263 w 2506"/>
              <a:gd name="T79" fmla="*/ 3257550 h 3396"/>
              <a:gd name="T80" fmla="*/ 2771775 w 2506"/>
              <a:gd name="T81" fmla="*/ 3348038 h 3396"/>
              <a:gd name="T82" fmla="*/ 2951163 w 2506"/>
              <a:gd name="T83" fmla="*/ 3789363 h 3396"/>
              <a:gd name="T84" fmla="*/ 3348038 w 2506"/>
              <a:gd name="T85" fmla="*/ 4148138 h 3396"/>
              <a:gd name="T86" fmla="*/ 3500438 w 2506"/>
              <a:gd name="T87" fmla="*/ 4481513 h 3396"/>
              <a:gd name="T88" fmla="*/ 3122613 w 2506"/>
              <a:gd name="T89" fmla="*/ 4859338 h 3396"/>
              <a:gd name="T90" fmla="*/ 3141663 w 2506"/>
              <a:gd name="T91" fmla="*/ 5183188 h 3396"/>
              <a:gd name="T92" fmla="*/ 2789238 w 2506"/>
              <a:gd name="T93" fmla="*/ 5138738 h 3396"/>
              <a:gd name="T94" fmla="*/ 2268538 w 2506"/>
              <a:gd name="T95" fmla="*/ 5300663 h 3396"/>
              <a:gd name="T96" fmla="*/ 1998663 w 2506"/>
              <a:gd name="T97" fmla="*/ 5318125 h 3396"/>
              <a:gd name="T98" fmla="*/ 1709738 w 2506"/>
              <a:gd name="T99" fmla="*/ 5202238 h 3396"/>
              <a:gd name="T100" fmla="*/ 2249488 w 2506"/>
              <a:gd name="T101" fmla="*/ 368300 h 3396"/>
              <a:gd name="T102" fmla="*/ 1206500 w 2506"/>
              <a:gd name="T103" fmla="*/ 341313 h 3396"/>
              <a:gd name="T104" fmla="*/ 3068638 w 2506"/>
              <a:gd name="T105" fmla="*/ 395288 h 3396"/>
              <a:gd name="T106" fmla="*/ 530225 w 2506"/>
              <a:gd name="T107" fmla="*/ 944563 h 3396"/>
              <a:gd name="T108" fmla="*/ 800100 w 2506"/>
              <a:gd name="T109" fmla="*/ 881063 h 3396"/>
              <a:gd name="T110" fmla="*/ 2384425 w 2506"/>
              <a:gd name="T111" fmla="*/ 719138 h 3396"/>
              <a:gd name="T112" fmla="*/ 3392488 w 2506"/>
              <a:gd name="T113" fmla="*/ 738188 h 3396"/>
              <a:gd name="T114" fmla="*/ 3321050 w 2506"/>
              <a:gd name="T115" fmla="*/ 593725 h 3396"/>
              <a:gd name="T116" fmla="*/ 3024188 w 2506"/>
              <a:gd name="T117" fmla="*/ 368300 h 3396"/>
              <a:gd name="T118" fmla="*/ 3284538 w 2506"/>
              <a:gd name="T119" fmla="*/ 468313 h 3396"/>
              <a:gd name="T120" fmla="*/ 3059113 w 2506"/>
              <a:gd name="T121" fmla="*/ 503238 h 3396"/>
              <a:gd name="T122" fmla="*/ 3149600 w 2506"/>
              <a:gd name="T123" fmla="*/ 333375 h 3396"/>
              <a:gd name="T124" fmla="*/ 3114675 w 2506"/>
              <a:gd name="T125" fmla="*/ 279400 h 339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2506" h="3396">
                <a:moveTo>
                  <a:pt x="896" y="3203"/>
                </a:moveTo>
                <a:lnTo>
                  <a:pt x="896" y="3209"/>
                </a:lnTo>
                <a:lnTo>
                  <a:pt x="896" y="3203"/>
                </a:lnTo>
                <a:close/>
                <a:moveTo>
                  <a:pt x="754" y="3203"/>
                </a:moveTo>
                <a:lnTo>
                  <a:pt x="754" y="3209"/>
                </a:lnTo>
                <a:lnTo>
                  <a:pt x="748" y="3209"/>
                </a:lnTo>
                <a:lnTo>
                  <a:pt x="743" y="3209"/>
                </a:lnTo>
                <a:lnTo>
                  <a:pt x="743" y="3214"/>
                </a:lnTo>
                <a:lnTo>
                  <a:pt x="737" y="3214"/>
                </a:lnTo>
                <a:lnTo>
                  <a:pt x="737" y="3209"/>
                </a:lnTo>
                <a:lnTo>
                  <a:pt x="743" y="3209"/>
                </a:lnTo>
                <a:lnTo>
                  <a:pt x="743" y="3203"/>
                </a:lnTo>
                <a:lnTo>
                  <a:pt x="737" y="3197"/>
                </a:lnTo>
                <a:lnTo>
                  <a:pt x="743" y="3197"/>
                </a:lnTo>
                <a:lnTo>
                  <a:pt x="743" y="3203"/>
                </a:lnTo>
                <a:lnTo>
                  <a:pt x="743" y="3197"/>
                </a:lnTo>
                <a:lnTo>
                  <a:pt x="743" y="3203"/>
                </a:lnTo>
                <a:lnTo>
                  <a:pt x="748" y="3203"/>
                </a:lnTo>
                <a:lnTo>
                  <a:pt x="748" y="3197"/>
                </a:lnTo>
                <a:lnTo>
                  <a:pt x="754" y="3197"/>
                </a:lnTo>
                <a:lnTo>
                  <a:pt x="754" y="3203"/>
                </a:lnTo>
                <a:close/>
                <a:moveTo>
                  <a:pt x="1015" y="3260"/>
                </a:moveTo>
                <a:lnTo>
                  <a:pt x="1009" y="3260"/>
                </a:lnTo>
                <a:lnTo>
                  <a:pt x="1003" y="3260"/>
                </a:lnTo>
                <a:lnTo>
                  <a:pt x="998" y="3260"/>
                </a:lnTo>
                <a:lnTo>
                  <a:pt x="998" y="3254"/>
                </a:lnTo>
                <a:lnTo>
                  <a:pt x="992" y="3254"/>
                </a:lnTo>
                <a:lnTo>
                  <a:pt x="992" y="3248"/>
                </a:lnTo>
                <a:lnTo>
                  <a:pt x="992" y="3243"/>
                </a:lnTo>
                <a:lnTo>
                  <a:pt x="992" y="3248"/>
                </a:lnTo>
                <a:lnTo>
                  <a:pt x="992" y="3243"/>
                </a:lnTo>
                <a:lnTo>
                  <a:pt x="992" y="3237"/>
                </a:lnTo>
                <a:lnTo>
                  <a:pt x="986" y="3237"/>
                </a:lnTo>
                <a:lnTo>
                  <a:pt x="986" y="3231"/>
                </a:lnTo>
                <a:lnTo>
                  <a:pt x="981" y="3231"/>
                </a:lnTo>
                <a:lnTo>
                  <a:pt x="975" y="3231"/>
                </a:lnTo>
                <a:lnTo>
                  <a:pt x="969" y="3231"/>
                </a:lnTo>
                <a:lnTo>
                  <a:pt x="969" y="3226"/>
                </a:lnTo>
                <a:lnTo>
                  <a:pt x="964" y="3226"/>
                </a:lnTo>
                <a:lnTo>
                  <a:pt x="958" y="3226"/>
                </a:lnTo>
                <a:lnTo>
                  <a:pt x="958" y="3220"/>
                </a:lnTo>
                <a:lnTo>
                  <a:pt x="952" y="3220"/>
                </a:lnTo>
                <a:lnTo>
                  <a:pt x="952" y="3226"/>
                </a:lnTo>
                <a:lnTo>
                  <a:pt x="947" y="3226"/>
                </a:lnTo>
                <a:lnTo>
                  <a:pt x="941" y="3226"/>
                </a:lnTo>
                <a:lnTo>
                  <a:pt x="935" y="3226"/>
                </a:lnTo>
                <a:lnTo>
                  <a:pt x="935" y="3220"/>
                </a:lnTo>
                <a:lnTo>
                  <a:pt x="930" y="3220"/>
                </a:lnTo>
                <a:lnTo>
                  <a:pt x="924" y="3220"/>
                </a:lnTo>
                <a:lnTo>
                  <a:pt x="924" y="3214"/>
                </a:lnTo>
                <a:lnTo>
                  <a:pt x="918" y="3214"/>
                </a:lnTo>
                <a:lnTo>
                  <a:pt x="918" y="3209"/>
                </a:lnTo>
                <a:lnTo>
                  <a:pt x="918" y="3214"/>
                </a:lnTo>
                <a:lnTo>
                  <a:pt x="918" y="3209"/>
                </a:lnTo>
                <a:lnTo>
                  <a:pt x="913" y="3209"/>
                </a:lnTo>
                <a:lnTo>
                  <a:pt x="907" y="3203"/>
                </a:lnTo>
                <a:lnTo>
                  <a:pt x="907" y="3197"/>
                </a:lnTo>
                <a:lnTo>
                  <a:pt x="907" y="3192"/>
                </a:lnTo>
                <a:lnTo>
                  <a:pt x="901" y="3192"/>
                </a:lnTo>
                <a:lnTo>
                  <a:pt x="901" y="3186"/>
                </a:lnTo>
                <a:lnTo>
                  <a:pt x="896" y="3186"/>
                </a:lnTo>
                <a:lnTo>
                  <a:pt x="890" y="3186"/>
                </a:lnTo>
                <a:lnTo>
                  <a:pt x="890" y="3180"/>
                </a:lnTo>
                <a:lnTo>
                  <a:pt x="884" y="3180"/>
                </a:lnTo>
                <a:lnTo>
                  <a:pt x="879" y="3180"/>
                </a:lnTo>
                <a:lnTo>
                  <a:pt x="879" y="3175"/>
                </a:lnTo>
                <a:lnTo>
                  <a:pt x="873" y="3175"/>
                </a:lnTo>
                <a:lnTo>
                  <a:pt x="873" y="3169"/>
                </a:lnTo>
                <a:lnTo>
                  <a:pt x="867" y="3169"/>
                </a:lnTo>
                <a:lnTo>
                  <a:pt x="867" y="3163"/>
                </a:lnTo>
                <a:lnTo>
                  <a:pt x="862" y="3163"/>
                </a:lnTo>
                <a:lnTo>
                  <a:pt x="862" y="3158"/>
                </a:lnTo>
                <a:lnTo>
                  <a:pt x="856" y="3158"/>
                </a:lnTo>
                <a:lnTo>
                  <a:pt x="850" y="3158"/>
                </a:lnTo>
                <a:lnTo>
                  <a:pt x="850" y="3163"/>
                </a:lnTo>
                <a:lnTo>
                  <a:pt x="850" y="3169"/>
                </a:lnTo>
                <a:lnTo>
                  <a:pt x="856" y="3169"/>
                </a:lnTo>
                <a:lnTo>
                  <a:pt x="856" y="3175"/>
                </a:lnTo>
                <a:lnTo>
                  <a:pt x="862" y="3175"/>
                </a:lnTo>
                <a:lnTo>
                  <a:pt x="867" y="3180"/>
                </a:lnTo>
                <a:lnTo>
                  <a:pt x="873" y="3180"/>
                </a:lnTo>
                <a:lnTo>
                  <a:pt x="873" y="3186"/>
                </a:lnTo>
                <a:lnTo>
                  <a:pt x="879" y="3186"/>
                </a:lnTo>
                <a:lnTo>
                  <a:pt x="884" y="3186"/>
                </a:lnTo>
                <a:lnTo>
                  <a:pt x="884" y="3192"/>
                </a:lnTo>
                <a:lnTo>
                  <a:pt x="890" y="3192"/>
                </a:lnTo>
                <a:lnTo>
                  <a:pt x="890" y="3197"/>
                </a:lnTo>
                <a:lnTo>
                  <a:pt x="890" y="3203"/>
                </a:lnTo>
                <a:lnTo>
                  <a:pt x="890" y="3209"/>
                </a:lnTo>
                <a:lnTo>
                  <a:pt x="896" y="3209"/>
                </a:lnTo>
                <a:lnTo>
                  <a:pt x="896" y="3214"/>
                </a:lnTo>
                <a:lnTo>
                  <a:pt x="901" y="3214"/>
                </a:lnTo>
                <a:lnTo>
                  <a:pt x="901" y="3220"/>
                </a:lnTo>
                <a:lnTo>
                  <a:pt x="901" y="3226"/>
                </a:lnTo>
                <a:lnTo>
                  <a:pt x="896" y="3226"/>
                </a:lnTo>
                <a:lnTo>
                  <a:pt x="896" y="3220"/>
                </a:lnTo>
                <a:lnTo>
                  <a:pt x="890" y="3220"/>
                </a:lnTo>
                <a:lnTo>
                  <a:pt x="890" y="3226"/>
                </a:lnTo>
                <a:lnTo>
                  <a:pt x="884" y="3226"/>
                </a:lnTo>
                <a:lnTo>
                  <a:pt x="884" y="3220"/>
                </a:lnTo>
                <a:lnTo>
                  <a:pt x="879" y="3220"/>
                </a:lnTo>
                <a:lnTo>
                  <a:pt x="879" y="3226"/>
                </a:lnTo>
                <a:lnTo>
                  <a:pt x="879" y="3220"/>
                </a:lnTo>
                <a:lnTo>
                  <a:pt x="873" y="3220"/>
                </a:lnTo>
                <a:lnTo>
                  <a:pt x="873" y="3214"/>
                </a:lnTo>
                <a:lnTo>
                  <a:pt x="867" y="3214"/>
                </a:lnTo>
                <a:lnTo>
                  <a:pt x="873" y="3214"/>
                </a:lnTo>
                <a:lnTo>
                  <a:pt x="867" y="3214"/>
                </a:lnTo>
                <a:lnTo>
                  <a:pt x="862" y="3214"/>
                </a:lnTo>
                <a:lnTo>
                  <a:pt x="856" y="3214"/>
                </a:lnTo>
                <a:lnTo>
                  <a:pt x="856" y="3209"/>
                </a:lnTo>
                <a:lnTo>
                  <a:pt x="850" y="3209"/>
                </a:lnTo>
                <a:lnTo>
                  <a:pt x="850" y="3203"/>
                </a:lnTo>
                <a:lnTo>
                  <a:pt x="856" y="3209"/>
                </a:lnTo>
                <a:lnTo>
                  <a:pt x="856" y="3203"/>
                </a:lnTo>
                <a:lnTo>
                  <a:pt x="856" y="3209"/>
                </a:lnTo>
                <a:lnTo>
                  <a:pt x="862" y="3209"/>
                </a:lnTo>
                <a:lnTo>
                  <a:pt x="862" y="3214"/>
                </a:lnTo>
                <a:lnTo>
                  <a:pt x="867" y="3214"/>
                </a:lnTo>
                <a:lnTo>
                  <a:pt x="873" y="3214"/>
                </a:lnTo>
                <a:lnTo>
                  <a:pt x="867" y="3214"/>
                </a:lnTo>
                <a:lnTo>
                  <a:pt x="867" y="3209"/>
                </a:lnTo>
                <a:lnTo>
                  <a:pt x="867" y="3214"/>
                </a:lnTo>
                <a:lnTo>
                  <a:pt x="873" y="3214"/>
                </a:lnTo>
                <a:lnTo>
                  <a:pt x="873" y="3209"/>
                </a:lnTo>
                <a:lnTo>
                  <a:pt x="867" y="3209"/>
                </a:lnTo>
                <a:lnTo>
                  <a:pt x="867" y="3203"/>
                </a:lnTo>
                <a:lnTo>
                  <a:pt x="862" y="3203"/>
                </a:lnTo>
                <a:lnTo>
                  <a:pt x="856" y="3203"/>
                </a:lnTo>
                <a:lnTo>
                  <a:pt x="856" y="3197"/>
                </a:lnTo>
                <a:lnTo>
                  <a:pt x="850" y="3197"/>
                </a:lnTo>
                <a:lnTo>
                  <a:pt x="845" y="3197"/>
                </a:lnTo>
                <a:lnTo>
                  <a:pt x="845" y="3192"/>
                </a:lnTo>
                <a:lnTo>
                  <a:pt x="839" y="3192"/>
                </a:lnTo>
                <a:lnTo>
                  <a:pt x="839" y="3186"/>
                </a:lnTo>
                <a:lnTo>
                  <a:pt x="833" y="3186"/>
                </a:lnTo>
                <a:lnTo>
                  <a:pt x="833" y="3192"/>
                </a:lnTo>
                <a:lnTo>
                  <a:pt x="839" y="3192"/>
                </a:lnTo>
                <a:lnTo>
                  <a:pt x="839" y="3197"/>
                </a:lnTo>
                <a:lnTo>
                  <a:pt x="845" y="3197"/>
                </a:lnTo>
                <a:lnTo>
                  <a:pt x="839" y="3197"/>
                </a:lnTo>
                <a:lnTo>
                  <a:pt x="833" y="3192"/>
                </a:lnTo>
                <a:lnTo>
                  <a:pt x="828" y="3192"/>
                </a:lnTo>
                <a:lnTo>
                  <a:pt x="822" y="3192"/>
                </a:lnTo>
                <a:lnTo>
                  <a:pt x="822" y="3197"/>
                </a:lnTo>
                <a:lnTo>
                  <a:pt x="828" y="3197"/>
                </a:lnTo>
                <a:lnTo>
                  <a:pt x="828" y="3203"/>
                </a:lnTo>
                <a:lnTo>
                  <a:pt x="833" y="3203"/>
                </a:lnTo>
                <a:lnTo>
                  <a:pt x="839" y="3203"/>
                </a:lnTo>
                <a:lnTo>
                  <a:pt x="839" y="3209"/>
                </a:lnTo>
                <a:lnTo>
                  <a:pt x="839" y="3214"/>
                </a:lnTo>
                <a:lnTo>
                  <a:pt x="833" y="3214"/>
                </a:lnTo>
                <a:lnTo>
                  <a:pt x="828" y="3220"/>
                </a:lnTo>
                <a:lnTo>
                  <a:pt x="822" y="3220"/>
                </a:lnTo>
                <a:lnTo>
                  <a:pt x="822" y="3226"/>
                </a:lnTo>
                <a:lnTo>
                  <a:pt x="816" y="3226"/>
                </a:lnTo>
                <a:lnTo>
                  <a:pt x="811" y="3226"/>
                </a:lnTo>
                <a:lnTo>
                  <a:pt x="805" y="3226"/>
                </a:lnTo>
                <a:lnTo>
                  <a:pt x="799" y="3226"/>
                </a:lnTo>
                <a:lnTo>
                  <a:pt x="799" y="3220"/>
                </a:lnTo>
                <a:lnTo>
                  <a:pt x="799" y="3214"/>
                </a:lnTo>
                <a:lnTo>
                  <a:pt x="794" y="3214"/>
                </a:lnTo>
                <a:lnTo>
                  <a:pt x="794" y="3209"/>
                </a:lnTo>
                <a:lnTo>
                  <a:pt x="799" y="3209"/>
                </a:lnTo>
                <a:lnTo>
                  <a:pt x="799" y="3203"/>
                </a:lnTo>
                <a:lnTo>
                  <a:pt x="794" y="3203"/>
                </a:lnTo>
                <a:lnTo>
                  <a:pt x="788" y="3203"/>
                </a:lnTo>
                <a:lnTo>
                  <a:pt x="788" y="3197"/>
                </a:lnTo>
                <a:lnTo>
                  <a:pt x="788" y="3203"/>
                </a:lnTo>
                <a:lnTo>
                  <a:pt x="782" y="3203"/>
                </a:lnTo>
                <a:lnTo>
                  <a:pt x="788" y="3197"/>
                </a:lnTo>
                <a:lnTo>
                  <a:pt x="782" y="3197"/>
                </a:lnTo>
                <a:lnTo>
                  <a:pt x="782" y="3192"/>
                </a:lnTo>
                <a:lnTo>
                  <a:pt x="777" y="3192"/>
                </a:lnTo>
                <a:lnTo>
                  <a:pt x="782" y="3192"/>
                </a:lnTo>
                <a:lnTo>
                  <a:pt x="777" y="3192"/>
                </a:lnTo>
                <a:lnTo>
                  <a:pt x="777" y="3197"/>
                </a:lnTo>
                <a:lnTo>
                  <a:pt x="777" y="3192"/>
                </a:lnTo>
                <a:lnTo>
                  <a:pt x="777" y="3197"/>
                </a:lnTo>
                <a:lnTo>
                  <a:pt x="771" y="3197"/>
                </a:lnTo>
                <a:lnTo>
                  <a:pt x="771" y="3203"/>
                </a:lnTo>
                <a:lnTo>
                  <a:pt x="777" y="3203"/>
                </a:lnTo>
                <a:lnTo>
                  <a:pt x="777" y="3209"/>
                </a:lnTo>
                <a:lnTo>
                  <a:pt x="782" y="3209"/>
                </a:lnTo>
                <a:lnTo>
                  <a:pt x="777" y="3209"/>
                </a:lnTo>
                <a:lnTo>
                  <a:pt x="777" y="3214"/>
                </a:lnTo>
                <a:lnTo>
                  <a:pt x="771" y="3214"/>
                </a:lnTo>
                <a:lnTo>
                  <a:pt x="765" y="3209"/>
                </a:lnTo>
                <a:lnTo>
                  <a:pt x="760" y="3209"/>
                </a:lnTo>
                <a:lnTo>
                  <a:pt x="760" y="3203"/>
                </a:lnTo>
                <a:lnTo>
                  <a:pt x="760" y="3197"/>
                </a:lnTo>
                <a:lnTo>
                  <a:pt x="754" y="3197"/>
                </a:lnTo>
                <a:lnTo>
                  <a:pt x="754" y="3192"/>
                </a:lnTo>
                <a:lnTo>
                  <a:pt x="754" y="3186"/>
                </a:lnTo>
                <a:lnTo>
                  <a:pt x="760" y="3186"/>
                </a:lnTo>
                <a:lnTo>
                  <a:pt x="765" y="3186"/>
                </a:lnTo>
                <a:lnTo>
                  <a:pt x="760" y="3186"/>
                </a:lnTo>
                <a:lnTo>
                  <a:pt x="760" y="3180"/>
                </a:lnTo>
                <a:lnTo>
                  <a:pt x="754" y="3180"/>
                </a:lnTo>
                <a:lnTo>
                  <a:pt x="754" y="3175"/>
                </a:lnTo>
                <a:lnTo>
                  <a:pt x="754" y="3180"/>
                </a:lnTo>
                <a:lnTo>
                  <a:pt x="748" y="3180"/>
                </a:lnTo>
                <a:lnTo>
                  <a:pt x="748" y="3175"/>
                </a:lnTo>
                <a:lnTo>
                  <a:pt x="748" y="3169"/>
                </a:lnTo>
                <a:lnTo>
                  <a:pt x="743" y="3169"/>
                </a:lnTo>
                <a:lnTo>
                  <a:pt x="743" y="3163"/>
                </a:lnTo>
                <a:lnTo>
                  <a:pt x="737" y="3163"/>
                </a:lnTo>
                <a:lnTo>
                  <a:pt x="737" y="3169"/>
                </a:lnTo>
                <a:lnTo>
                  <a:pt x="737" y="3175"/>
                </a:lnTo>
                <a:lnTo>
                  <a:pt x="731" y="3175"/>
                </a:lnTo>
                <a:lnTo>
                  <a:pt x="731" y="3180"/>
                </a:lnTo>
                <a:lnTo>
                  <a:pt x="726" y="3175"/>
                </a:lnTo>
                <a:lnTo>
                  <a:pt x="726" y="3169"/>
                </a:lnTo>
                <a:lnTo>
                  <a:pt x="726" y="3163"/>
                </a:lnTo>
                <a:lnTo>
                  <a:pt x="726" y="3158"/>
                </a:lnTo>
                <a:lnTo>
                  <a:pt x="720" y="3158"/>
                </a:lnTo>
                <a:lnTo>
                  <a:pt x="720" y="3163"/>
                </a:lnTo>
                <a:lnTo>
                  <a:pt x="720" y="3158"/>
                </a:lnTo>
                <a:lnTo>
                  <a:pt x="714" y="3163"/>
                </a:lnTo>
                <a:lnTo>
                  <a:pt x="714" y="3158"/>
                </a:lnTo>
                <a:lnTo>
                  <a:pt x="709" y="3158"/>
                </a:lnTo>
                <a:lnTo>
                  <a:pt x="709" y="3163"/>
                </a:lnTo>
                <a:lnTo>
                  <a:pt x="714" y="3163"/>
                </a:lnTo>
                <a:lnTo>
                  <a:pt x="714" y="3169"/>
                </a:lnTo>
                <a:lnTo>
                  <a:pt x="709" y="3169"/>
                </a:lnTo>
                <a:lnTo>
                  <a:pt x="703" y="3169"/>
                </a:lnTo>
                <a:lnTo>
                  <a:pt x="697" y="3169"/>
                </a:lnTo>
                <a:lnTo>
                  <a:pt x="697" y="3175"/>
                </a:lnTo>
                <a:lnTo>
                  <a:pt x="697" y="3169"/>
                </a:lnTo>
                <a:lnTo>
                  <a:pt x="697" y="3175"/>
                </a:lnTo>
                <a:lnTo>
                  <a:pt x="692" y="3175"/>
                </a:lnTo>
                <a:lnTo>
                  <a:pt x="686" y="3175"/>
                </a:lnTo>
                <a:lnTo>
                  <a:pt x="680" y="3180"/>
                </a:lnTo>
                <a:lnTo>
                  <a:pt x="680" y="3186"/>
                </a:lnTo>
                <a:lnTo>
                  <a:pt x="675" y="3186"/>
                </a:lnTo>
                <a:lnTo>
                  <a:pt x="680" y="3192"/>
                </a:lnTo>
                <a:lnTo>
                  <a:pt x="680" y="3197"/>
                </a:lnTo>
                <a:lnTo>
                  <a:pt x="675" y="3192"/>
                </a:lnTo>
                <a:lnTo>
                  <a:pt x="675" y="3197"/>
                </a:lnTo>
                <a:lnTo>
                  <a:pt x="669" y="3197"/>
                </a:lnTo>
                <a:lnTo>
                  <a:pt x="663" y="3203"/>
                </a:lnTo>
                <a:lnTo>
                  <a:pt x="663" y="3209"/>
                </a:lnTo>
                <a:lnTo>
                  <a:pt x="669" y="3209"/>
                </a:lnTo>
                <a:lnTo>
                  <a:pt x="669" y="3214"/>
                </a:lnTo>
                <a:lnTo>
                  <a:pt x="663" y="3214"/>
                </a:lnTo>
                <a:lnTo>
                  <a:pt x="663" y="3220"/>
                </a:lnTo>
                <a:lnTo>
                  <a:pt x="669" y="3220"/>
                </a:lnTo>
                <a:lnTo>
                  <a:pt x="675" y="3220"/>
                </a:lnTo>
                <a:lnTo>
                  <a:pt x="675" y="3226"/>
                </a:lnTo>
                <a:lnTo>
                  <a:pt x="680" y="3226"/>
                </a:lnTo>
                <a:lnTo>
                  <a:pt x="680" y="3231"/>
                </a:lnTo>
                <a:lnTo>
                  <a:pt x="686" y="3231"/>
                </a:lnTo>
                <a:lnTo>
                  <a:pt x="680" y="3231"/>
                </a:lnTo>
                <a:lnTo>
                  <a:pt x="686" y="3226"/>
                </a:lnTo>
                <a:lnTo>
                  <a:pt x="680" y="3226"/>
                </a:lnTo>
                <a:lnTo>
                  <a:pt x="686" y="3226"/>
                </a:lnTo>
                <a:lnTo>
                  <a:pt x="686" y="3231"/>
                </a:lnTo>
                <a:lnTo>
                  <a:pt x="686" y="3226"/>
                </a:lnTo>
                <a:lnTo>
                  <a:pt x="686" y="3231"/>
                </a:lnTo>
                <a:lnTo>
                  <a:pt x="692" y="3231"/>
                </a:lnTo>
                <a:lnTo>
                  <a:pt x="692" y="3226"/>
                </a:lnTo>
                <a:lnTo>
                  <a:pt x="697" y="3226"/>
                </a:lnTo>
                <a:lnTo>
                  <a:pt x="697" y="3231"/>
                </a:lnTo>
                <a:lnTo>
                  <a:pt x="697" y="3226"/>
                </a:lnTo>
                <a:lnTo>
                  <a:pt x="703" y="3226"/>
                </a:lnTo>
                <a:lnTo>
                  <a:pt x="697" y="3226"/>
                </a:lnTo>
                <a:lnTo>
                  <a:pt x="697" y="3220"/>
                </a:lnTo>
                <a:lnTo>
                  <a:pt x="703" y="3220"/>
                </a:lnTo>
                <a:lnTo>
                  <a:pt x="703" y="3226"/>
                </a:lnTo>
                <a:lnTo>
                  <a:pt x="703" y="3220"/>
                </a:lnTo>
                <a:lnTo>
                  <a:pt x="709" y="3220"/>
                </a:lnTo>
                <a:lnTo>
                  <a:pt x="714" y="3220"/>
                </a:lnTo>
                <a:lnTo>
                  <a:pt x="720" y="3220"/>
                </a:lnTo>
                <a:lnTo>
                  <a:pt x="720" y="3214"/>
                </a:lnTo>
                <a:lnTo>
                  <a:pt x="720" y="3220"/>
                </a:lnTo>
                <a:lnTo>
                  <a:pt x="726" y="3220"/>
                </a:lnTo>
                <a:lnTo>
                  <a:pt x="726" y="3226"/>
                </a:lnTo>
                <a:lnTo>
                  <a:pt x="731" y="3226"/>
                </a:lnTo>
                <a:lnTo>
                  <a:pt x="726" y="3231"/>
                </a:lnTo>
                <a:lnTo>
                  <a:pt x="720" y="3231"/>
                </a:lnTo>
                <a:lnTo>
                  <a:pt x="726" y="3231"/>
                </a:lnTo>
                <a:lnTo>
                  <a:pt x="726" y="3226"/>
                </a:lnTo>
                <a:lnTo>
                  <a:pt x="720" y="3226"/>
                </a:lnTo>
                <a:lnTo>
                  <a:pt x="720" y="3231"/>
                </a:lnTo>
                <a:lnTo>
                  <a:pt x="720" y="3237"/>
                </a:lnTo>
                <a:lnTo>
                  <a:pt x="720" y="3243"/>
                </a:lnTo>
                <a:lnTo>
                  <a:pt x="720" y="3248"/>
                </a:lnTo>
                <a:lnTo>
                  <a:pt x="714" y="3248"/>
                </a:lnTo>
                <a:lnTo>
                  <a:pt x="709" y="3248"/>
                </a:lnTo>
                <a:lnTo>
                  <a:pt x="709" y="3243"/>
                </a:lnTo>
                <a:lnTo>
                  <a:pt x="714" y="3243"/>
                </a:lnTo>
                <a:lnTo>
                  <a:pt x="709" y="3243"/>
                </a:lnTo>
                <a:lnTo>
                  <a:pt x="714" y="3243"/>
                </a:lnTo>
                <a:lnTo>
                  <a:pt x="709" y="3243"/>
                </a:lnTo>
                <a:lnTo>
                  <a:pt x="709" y="3237"/>
                </a:lnTo>
                <a:lnTo>
                  <a:pt x="703" y="3237"/>
                </a:lnTo>
                <a:lnTo>
                  <a:pt x="697" y="3237"/>
                </a:lnTo>
                <a:lnTo>
                  <a:pt x="697" y="3231"/>
                </a:lnTo>
                <a:lnTo>
                  <a:pt x="697" y="3237"/>
                </a:lnTo>
                <a:lnTo>
                  <a:pt x="692" y="3237"/>
                </a:lnTo>
                <a:lnTo>
                  <a:pt x="697" y="3237"/>
                </a:lnTo>
                <a:lnTo>
                  <a:pt x="692" y="3237"/>
                </a:lnTo>
                <a:lnTo>
                  <a:pt x="692" y="3243"/>
                </a:lnTo>
                <a:lnTo>
                  <a:pt x="686" y="3243"/>
                </a:lnTo>
                <a:lnTo>
                  <a:pt x="680" y="3243"/>
                </a:lnTo>
                <a:lnTo>
                  <a:pt x="680" y="3248"/>
                </a:lnTo>
                <a:lnTo>
                  <a:pt x="680" y="3254"/>
                </a:lnTo>
                <a:lnTo>
                  <a:pt x="686" y="3254"/>
                </a:lnTo>
                <a:lnTo>
                  <a:pt x="686" y="3260"/>
                </a:lnTo>
                <a:lnTo>
                  <a:pt x="680" y="3260"/>
                </a:lnTo>
                <a:lnTo>
                  <a:pt x="675" y="3260"/>
                </a:lnTo>
                <a:lnTo>
                  <a:pt x="669" y="3260"/>
                </a:lnTo>
                <a:lnTo>
                  <a:pt x="663" y="3260"/>
                </a:lnTo>
                <a:lnTo>
                  <a:pt x="658" y="3260"/>
                </a:lnTo>
                <a:lnTo>
                  <a:pt x="658" y="3265"/>
                </a:lnTo>
                <a:lnTo>
                  <a:pt x="658" y="3260"/>
                </a:lnTo>
                <a:lnTo>
                  <a:pt x="652" y="3260"/>
                </a:lnTo>
                <a:lnTo>
                  <a:pt x="646" y="3260"/>
                </a:lnTo>
                <a:lnTo>
                  <a:pt x="641" y="3260"/>
                </a:lnTo>
                <a:lnTo>
                  <a:pt x="635" y="3260"/>
                </a:lnTo>
                <a:lnTo>
                  <a:pt x="635" y="3254"/>
                </a:lnTo>
                <a:lnTo>
                  <a:pt x="629" y="3254"/>
                </a:lnTo>
                <a:lnTo>
                  <a:pt x="629" y="3248"/>
                </a:lnTo>
                <a:lnTo>
                  <a:pt x="629" y="3243"/>
                </a:lnTo>
                <a:lnTo>
                  <a:pt x="624" y="3243"/>
                </a:lnTo>
                <a:lnTo>
                  <a:pt x="618" y="3243"/>
                </a:lnTo>
                <a:lnTo>
                  <a:pt x="612" y="3243"/>
                </a:lnTo>
                <a:lnTo>
                  <a:pt x="607" y="3243"/>
                </a:lnTo>
                <a:lnTo>
                  <a:pt x="607" y="3237"/>
                </a:lnTo>
                <a:lnTo>
                  <a:pt x="601" y="3237"/>
                </a:lnTo>
                <a:lnTo>
                  <a:pt x="601" y="3243"/>
                </a:lnTo>
                <a:lnTo>
                  <a:pt x="595" y="3243"/>
                </a:lnTo>
                <a:lnTo>
                  <a:pt x="595" y="3248"/>
                </a:lnTo>
                <a:lnTo>
                  <a:pt x="590" y="3248"/>
                </a:lnTo>
                <a:lnTo>
                  <a:pt x="584" y="3248"/>
                </a:lnTo>
                <a:lnTo>
                  <a:pt x="584" y="3254"/>
                </a:lnTo>
                <a:lnTo>
                  <a:pt x="578" y="3254"/>
                </a:lnTo>
                <a:lnTo>
                  <a:pt x="573" y="3254"/>
                </a:lnTo>
                <a:lnTo>
                  <a:pt x="573" y="3260"/>
                </a:lnTo>
                <a:lnTo>
                  <a:pt x="573" y="3265"/>
                </a:lnTo>
                <a:lnTo>
                  <a:pt x="567" y="3265"/>
                </a:lnTo>
                <a:lnTo>
                  <a:pt x="567" y="3260"/>
                </a:lnTo>
                <a:lnTo>
                  <a:pt x="561" y="3260"/>
                </a:lnTo>
                <a:lnTo>
                  <a:pt x="555" y="3265"/>
                </a:lnTo>
                <a:lnTo>
                  <a:pt x="550" y="3265"/>
                </a:lnTo>
                <a:lnTo>
                  <a:pt x="544" y="3265"/>
                </a:lnTo>
                <a:lnTo>
                  <a:pt x="538" y="3265"/>
                </a:lnTo>
                <a:lnTo>
                  <a:pt x="533" y="3265"/>
                </a:lnTo>
                <a:lnTo>
                  <a:pt x="533" y="3260"/>
                </a:lnTo>
                <a:lnTo>
                  <a:pt x="527" y="3265"/>
                </a:lnTo>
                <a:lnTo>
                  <a:pt x="527" y="3271"/>
                </a:lnTo>
                <a:lnTo>
                  <a:pt x="527" y="3265"/>
                </a:lnTo>
                <a:lnTo>
                  <a:pt x="521" y="3265"/>
                </a:lnTo>
                <a:lnTo>
                  <a:pt x="516" y="3265"/>
                </a:lnTo>
                <a:lnTo>
                  <a:pt x="516" y="3260"/>
                </a:lnTo>
                <a:lnTo>
                  <a:pt x="516" y="3254"/>
                </a:lnTo>
                <a:lnTo>
                  <a:pt x="510" y="3248"/>
                </a:lnTo>
                <a:lnTo>
                  <a:pt x="504" y="3248"/>
                </a:lnTo>
                <a:lnTo>
                  <a:pt x="499" y="3248"/>
                </a:lnTo>
                <a:lnTo>
                  <a:pt x="493" y="3248"/>
                </a:lnTo>
                <a:lnTo>
                  <a:pt x="487" y="3248"/>
                </a:lnTo>
                <a:lnTo>
                  <a:pt x="487" y="3254"/>
                </a:lnTo>
                <a:lnTo>
                  <a:pt x="487" y="3260"/>
                </a:lnTo>
                <a:lnTo>
                  <a:pt x="482" y="3260"/>
                </a:lnTo>
                <a:lnTo>
                  <a:pt x="482" y="3265"/>
                </a:lnTo>
                <a:lnTo>
                  <a:pt x="476" y="3265"/>
                </a:lnTo>
                <a:lnTo>
                  <a:pt x="470" y="3265"/>
                </a:lnTo>
                <a:lnTo>
                  <a:pt x="465" y="3265"/>
                </a:lnTo>
                <a:lnTo>
                  <a:pt x="459" y="3265"/>
                </a:lnTo>
                <a:lnTo>
                  <a:pt x="459" y="3271"/>
                </a:lnTo>
                <a:lnTo>
                  <a:pt x="453" y="3271"/>
                </a:lnTo>
                <a:lnTo>
                  <a:pt x="448" y="3271"/>
                </a:lnTo>
                <a:lnTo>
                  <a:pt x="442" y="3271"/>
                </a:lnTo>
                <a:lnTo>
                  <a:pt x="442" y="3265"/>
                </a:lnTo>
                <a:lnTo>
                  <a:pt x="436" y="3265"/>
                </a:lnTo>
                <a:lnTo>
                  <a:pt x="436" y="3260"/>
                </a:lnTo>
                <a:lnTo>
                  <a:pt x="442" y="3260"/>
                </a:lnTo>
                <a:lnTo>
                  <a:pt x="442" y="3254"/>
                </a:lnTo>
                <a:lnTo>
                  <a:pt x="442" y="3260"/>
                </a:lnTo>
                <a:lnTo>
                  <a:pt x="448" y="3254"/>
                </a:lnTo>
                <a:lnTo>
                  <a:pt x="448" y="3260"/>
                </a:lnTo>
                <a:lnTo>
                  <a:pt x="448" y="3254"/>
                </a:lnTo>
                <a:lnTo>
                  <a:pt x="448" y="3260"/>
                </a:lnTo>
                <a:lnTo>
                  <a:pt x="448" y="3254"/>
                </a:lnTo>
                <a:lnTo>
                  <a:pt x="453" y="3254"/>
                </a:lnTo>
                <a:lnTo>
                  <a:pt x="448" y="3254"/>
                </a:lnTo>
                <a:lnTo>
                  <a:pt x="448" y="3248"/>
                </a:lnTo>
                <a:lnTo>
                  <a:pt x="448" y="3243"/>
                </a:lnTo>
                <a:lnTo>
                  <a:pt x="453" y="3243"/>
                </a:lnTo>
                <a:lnTo>
                  <a:pt x="448" y="3243"/>
                </a:lnTo>
                <a:lnTo>
                  <a:pt x="442" y="3243"/>
                </a:lnTo>
                <a:lnTo>
                  <a:pt x="436" y="3243"/>
                </a:lnTo>
                <a:lnTo>
                  <a:pt x="436" y="3248"/>
                </a:lnTo>
                <a:lnTo>
                  <a:pt x="431" y="3248"/>
                </a:lnTo>
                <a:lnTo>
                  <a:pt x="431" y="3254"/>
                </a:lnTo>
                <a:lnTo>
                  <a:pt x="431" y="3248"/>
                </a:lnTo>
                <a:lnTo>
                  <a:pt x="425" y="3248"/>
                </a:lnTo>
                <a:lnTo>
                  <a:pt x="419" y="3243"/>
                </a:lnTo>
                <a:lnTo>
                  <a:pt x="425" y="3243"/>
                </a:lnTo>
                <a:lnTo>
                  <a:pt x="425" y="3237"/>
                </a:lnTo>
                <a:lnTo>
                  <a:pt x="419" y="3237"/>
                </a:lnTo>
                <a:lnTo>
                  <a:pt x="419" y="3231"/>
                </a:lnTo>
                <a:lnTo>
                  <a:pt x="414" y="3231"/>
                </a:lnTo>
                <a:lnTo>
                  <a:pt x="414" y="3226"/>
                </a:lnTo>
                <a:lnTo>
                  <a:pt x="408" y="3220"/>
                </a:lnTo>
                <a:lnTo>
                  <a:pt x="402" y="3214"/>
                </a:lnTo>
                <a:lnTo>
                  <a:pt x="402" y="3209"/>
                </a:lnTo>
                <a:lnTo>
                  <a:pt x="402" y="3203"/>
                </a:lnTo>
                <a:lnTo>
                  <a:pt x="402" y="3197"/>
                </a:lnTo>
                <a:lnTo>
                  <a:pt x="402" y="3192"/>
                </a:lnTo>
                <a:lnTo>
                  <a:pt x="408" y="3192"/>
                </a:lnTo>
                <a:lnTo>
                  <a:pt x="408" y="3186"/>
                </a:lnTo>
                <a:lnTo>
                  <a:pt x="414" y="3186"/>
                </a:lnTo>
                <a:lnTo>
                  <a:pt x="414" y="3180"/>
                </a:lnTo>
                <a:lnTo>
                  <a:pt x="408" y="3175"/>
                </a:lnTo>
                <a:lnTo>
                  <a:pt x="408" y="3169"/>
                </a:lnTo>
                <a:lnTo>
                  <a:pt x="408" y="3163"/>
                </a:lnTo>
                <a:lnTo>
                  <a:pt x="408" y="3158"/>
                </a:lnTo>
                <a:lnTo>
                  <a:pt x="408" y="3152"/>
                </a:lnTo>
                <a:lnTo>
                  <a:pt x="414" y="3152"/>
                </a:lnTo>
                <a:lnTo>
                  <a:pt x="414" y="3146"/>
                </a:lnTo>
                <a:lnTo>
                  <a:pt x="414" y="3141"/>
                </a:lnTo>
                <a:lnTo>
                  <a:pt x="419" y="3135"/>
                </a:lnTo>
                <a:lnTo>
                  <a:pt x="419" y="3129"/>
                </a:lnTo>
                <a:lnTo>
                  <a:pt x="419" y="3124"/>
                </a:lnTo>
                <a:lnTo>
                  <a:pt x="414" y="3124"/>
                </a:lnTo>
                <a:lnTo>
                  <a:pt x="414" y="3118"/>
                </a:lnTo>
                <a:lnTo>
                  <a:pt x="419" y="3118"/>
                </a:lnTo>
                <a:lnTo>
                  <a:pt x="419" y="3112"/>
                </a:lnTo>
                <a:lnTo>
                  <a:pt x="425" y="3112"/>
                </a:lnTo>
                <a:lnTo>
                  <a:pt x="425" y="3107"/>
                </a:lnTo>
                <a:lnTo>
                  <a:pt x="425" y="3101"/>
                </a:lnTo>
                <a:lnTo>
                  <a:pt x="425" y="3095"/>
                </a:lnTo>
                <a:lnTo>
                  <a:pt x="431" y="3090"/>
                </a:lnTo>
                <a:lnTo>
                  <a:pt x="431" y="3084"/>
                </a:lnTo>
                <a:lnTo>
                  <a:pt x="436" y="3084"/>
                </a:lnTo>
                <a:lnTo>
                  <a:pt x="436" y="3078"/>
                </a:lnTo>
                <a:lnTo>
                  <a:pt x="436" y="3073"/>
                </a:lnTo>
                <a:lnTo>
                  <a:pt x="436" y="3067"/>
                </a:lnTo>
                <a:lnTo>
                  <a:pt x="431" y="3067"/>
                </a:lnTo>
                <a:lnTo>
                  <a:pt x="431" y="3061"/>
                </a:lnTo>
                <a:lnTo>
                  <a:pt x="425" y="3056"/>
                </a:lnTo>
                <a:lnTo>
                  <a:pt x="425" y="3050"/>
                </a:lnTo>
                <a:lnTo>
                  <a:pt x="425" y="3044"/>
                </a:lnTo>
                <a:lnTo>
                  <a:pt x="425" y="3039"/>
                </a:lnTo>
                <a:lnTo>
                  <a:pt x="425" y="3033"/>
                </a:lnTo>
                <a:lnTo>
                  <a:pt x="425" y="3027"/>
                </a:lnTo>
                <a:lnTo>
                  <a:pt x="425" y="3022"/>
                </a:lnTo>
                <a:lnTo>
                  <a:pt x="425" y="3016"/>
                </a:lnTo>
                <a:lnTo>
                  <a:pt x="425" y="3010"/>
                </a:lnTo>
                <a:lnTo>
                  <a:pt x="431" y="3010"/>
                </a:lnTo>
                <a:lnTo>
                  <a:pt x="431" y="3005"/>
                </a:lnTo>
                <a:lnTo>
                  <a:pt x="431" y="2999"/>
                </a:lnTo>
                <a:lnTo>
                  <a:pt x="436" y="2999"/>
                </a:lnTo>
                <a:lnTo>
                  <a:pt x="436" y="2993"/>
                </a:lnTo>
                <a:lnTo>
                  <a:pt x="442" y="2993"/>
                </a:lnTo>
                <a:lnTo>
                  <a:pt x="442" y="2988"/>
                </a:lnTo>
                <a:lnTo>
                  <a:pt x="442" y="2982"/>
                </a:lnTo>
                <a:lnTo>
                  <a:pt x="448" y="2982"/>
                </a:lnTo>
                <a:lnTo>
                  <a:pt x="448" y="2976"/>
                </a:lnTo>
                <a:lnTo>
                  <a:pt x="453" y="2971"/>
                </a:lnTo>
                <a:lnTo>
                  <a:pt x="453" y="2965"/>
                </a:lnTo>
                <a:lnTo>
                  <a:pt x="459" y="2959"/>
                </a:lnTo>
                <a:lnTo>
                  <a:pt x="459" y="2954"/>
                </a:lnTo>
                <a:lnTo>
                  <a:pt x="459" y="2948"/>
                </a:lnTo>
                <a:lnTo>
                  <a:pt x="459" y="2942"/>
                </a:lnTo>
                <a:lnTo>
                  <a:pt x="459" y="2937"/>
                </a:lnTo>
                <a:lnTo>
                  <a:pt x="465" y="2937"/>
                </a:lnTo>
                <a:lnTo>
                  <a:pt x="465" y="2931"/>
                </a:lnTo>
                <a:lnTo>
                  <a:pt x="470" y="2931"/>
                </a:lnTo>
                <a:lnTo>
                  <a:pt x="476" y="2931"/>
                </a:lnTo>
                <a:lnTo>
                  <a:pt x="476" y="2925"/>
                </a:lnTo>
                <a:lnTo>
                  <a:pt x="476" y="2920"/>
                </a:lnTo>
                <a:lnTo>
                  <a:pt x="476" y="2914"/>
                </a:lnTo>
                <a:lnTo>
                  <a:pt x="476" y="2908"/>
                </a:lnTo>
                <a:lnTo>
                  <a:pt x="476" y="2903"/>
                </a:lnTo>
                <a:lnTo>
                  <a:pt x="476" y="2897"/>
                </a:lnTo>
                <a:lnTo>
                  <a:pt x="476" y="2891"/>
                </a:lnTo>
                <a:lnTo>
                  <a:pt x="476" y="2886"/>
                </a:lnTo>
                <a:lnTo>
                  <a:pt x="482" y="2886"/>
                </a:lnTo>
                <a:lnTo>
                  <a:pt x="482" y="2880"/>
                </a:lnTo>
                <a:lnTo>
                  <a:pt x="482" y="2874"/>
                </a:lnTo>
                <a:lnTo>
                  <a:pt x="482" y="2869"/>
                </a:lnTo>
                <a:lnTo>
                  <a:pt x="487" y="2863"/>
                </a:lnTo>
                <a:lnTo>
                  <a:pt x="487" y="2857"/>
                </a:lnTo>
                <a:lnTo>
                  <a:pt x="487" y="2852"/>
                </a:lnTo>
                <a:lnTo>
                  <a:pt x="493" y="2852"/>
                </a:lnTo>
                <a:lnTo>
                  <a:pt x="493" y="2846"/>
                </a:lnTo>
                <a:lnTo>
                  <a:pt x="499" y="2846"/>
                </a:lnTo>
                <a:lnTo>
                  <a:pt x="499" y="2840"/>
                </a:lnTo>
                <a:lnTo>
                  <a:pt x="499" y="2835"/>
                </a:lnTo>
                <a:lnTo>
                  <a:pt x="499" y="2829"/>
                </a:lnTo>
                <a:lnTo>
                  <a:pt x="499" y="2823"/>
                </a:lnTo>
                <a:lnTo>
                  <a:pt x="499" y="2818"/>
                </a:lnTo>
                <a:lnTo>
                  <a:pt x="499" y="2812"/>
                </a:lnTo>
                <a:lnTo>
                  <a:pt x="499" y="2806"/>
                </a:lnTo>
                <a:lnTo>
                  <a:pt x="504" y="2801"/>
                </a:lnTo>
                <a:lnTo>
                  <a:pt x="504" y="2795"/>
                </a:lnTo>
                <a:lnTo>
                  <a:pt x="510" y="2795"/>
                </a:lnTo>
                <a:lnTo>
                  <a:pt x="510" y="2789"/>
                </a:lnTo>
                <a:lnTo>
                  <a:pt x="516" y="2784"/>
                </a:lnTo>
                <a:lnTo>
                  <a:pt x="521" y="2784"/>
                </a:lnTo>
                <a:lnTo>
                  <a:pt x="521" y="2778"/>
                </a:lnTo>
                <a:lnTo>
                  <a:pt x="527" y="2778"/>
                </a:lnTo>
                <a:lnTo>
                  <a:pt x="533" y="2772"/>
                </a:lnTo>
                <a:lnTo>
                  <a:pt x="533" y="2767"/>
                </a:lnTo>
                <a:lnTo>
                  <a:pt x="538" y="2767"/>
                </a:lnTo>
                <a:lnTo>
                  <a:pt x="538" y="2761"/>
                </a:lnTo>
                <a:lnTo>
                  <a:pt x="544" y="2761"/>
                </a:lnTo>
                <a:lnTo>
                  <a:pt x="544" y="2755"/>
                </a:lnTo>
                <a:lnTo>
                  <a:pt x="544" y="2749"/>
                </a:lnTo>
                <a:lnTo>
                  <a:pt x="544" y="2744"/>
                </a:lnTo>
                <a:lnTo>
                  <a:pt x="550" y="2744"/>
                </a:lnTo>
                <a:lnTo>
                  <a:pt x="550" y="2738"/>
                </a:lnTo>
                <a:lnTo>
                  <a:pt x="555" y="2738"/>
                </a:lnTo>
                <a:lnTo>
                  <a:pt x="561" y="2738"/>
                </a:lnTo>
                <a:lnTo>
                  <a:pt x="561" y="2732"/>
                </a:lnTo>
                <a:lnTo>
                  <a:pt x="567" y="2732"/>
                </a:lnTo>
                <a:lnTo>
                  <a:pt x="567" y="2727"/>
                </a:lnTo>
                <a:lnTo>
                  <a:pt x="573" y="2727"/>
                </a:lnTo>
                <a:lnTo>
                  <a:pt x="578" y="2727"/>
                </a:lnTo>
                <a:lnTo>
                  <a:pt x="578" y="2721"/>
                </a:lnTo>
                <a:lnTo>
                  <a:pt x="584" y="2721"/>
                </a:lnTo>
                <a:lnTo>
                  <a:pt x="584" y="2715"/>
                </a:lnTo>
                <a:lnTo>
                  <a:pt x="590" y="2715"/>
                </a:lnTo>
                <a:lnTo>
                  <a:pt x="590" y="2710"/>
                </a:lnTo>
                <a:lnTo>
                  <a:pt x="590" y="2704"/>
                </a:lnTo>
                <a:lnTo>
                  <a:pt x="590" y="2698"/>
                </a:lnTo>
                <a:lnTo>
                  <a:pt x="595" y="2693"/>
                </a:lnTo>
                <a:lnTo>
                  <a:pt x="595" y="2687"/>
                </a:lnTo>
                <a:lnTo>
                  <a:pt x="595" y="2681"/>
                </a:lnTo>
                <a:lnTo>
                  <a:pt x="601" y="2681"/>
                </a:lnTo>
                <a:lnTo>
                  <a:pt x="601" y="2676"/>
                </a:lnTo>
                <a:lnTo>
                  <a:pt x="607" y="2670"/>
                </a:lnTo>
                <a:lnTo>
                  <a:pt x="607" y="2664"/>
                </a:lnTo>
                <a:lnTo>
                  <a:pt x="612" y="2664"/>
                </a:lnTo>
                <a:lnTo>
                  <a:pt x="612" y="2659"/>
                </a:lnTo>
                <a:lnTo>
                  <a:pt x="618" y="2653"/>
                </a:lnTo>
                <a:lnTo>
                  <a:pt x="624" y="2653"/>
                </a:lnTo>
                <a:lnTo>
                  <a:pt x="624" y="2647"/>
                </a:lnTo>
                <a:lnTo>
                  <a:pt x="618" y="2647"/>
                </a:lnTo>
                <a:lnTo>
                  <a:pt x="612" y="2647"/>
                </a:lnTo>
                <a:lnTo>
                  <a:pt x="612" y="2642"/>
                </a:lnTo>
                <a:lnTo>
                  <a:pt x="612" y="2647"/>
                </a:lnTo>
                <a:lnTo>
                  <a:pt x="612" y="2642"/>
                </a:lnTo>
                <a:lnTo>
                  <a:pt x="607" y="2642"/>
                </a:lnTo>
                <a:lnTo>
                  <a:pt x="607" y="2647"/>
                </a:lnTo>
                <a:lnTo>
                  <a:pt x="607" y="2642"/>
                </a:lnTo>
                <a:lnTo>
                  <a:pt x="607" y="2647"/>
                </a:lnTo>
                <a:lnTo>
                  <a:pt x="607" y="2642"/>
                </a:lnTo>
                <a:lnTo>
                  <a:pt x="601" y="2647"/>
                </a:lnTo>
                <a:lnTo>
                  <a:pt x="601" y="2642"/>
                </a:lnTo>
                <a:lnTo>
                  <a:pt x="595" y="2642"/>
                </a:lnTo>
                <a:lnTo>
                  <a:pt x="590" y="2642"/>
                </a:lnTo>
                <a:lnTo>
                  <a:pt x="590" y="2636"/>
                </a:lnTo>
                <a:lnTo>
                  <a:pt x="590" y="2642"/>
                </a:lnTo>
                <a:lnTo>
                  <a:pt x="590" y="2636"/>
                </a:lnTo>
                <a:lnTo>
                  <a:pt x="590" y="2642"/>
                </a:lnTo>
                <a:lnTo>
                  <a:pt x="584" y="2636"/>
                </a:lnTo>
                <a:lnTo>
                  <a:pt x="578" y="2636"/>
                </a:lnTo>
                <a:lnTo>
                  <a:pt x="578" y="2630"/>
                </a:lnTo>
                <a:lnTo>
                  <a:pt x="573" y="2630"/>
                </a:lnTo>
                <a:lnTo>
                  <a:pt x="573" y="2625"/>
                </a:lnTo>
                <a:lnTo>
                  <a:pt x="573" y="2630"/>
                </a:lnTo>
                <a:lnTo>
                  <a:pt x="573" y="2625"/>
                </a:lnTo>
                <a:lnTo>
                  <a:pt x="567" y="2625"/>
                </a:lnTo>
                <a:lnTo>
                  <a:pt x="561" y="2625"/>
                </a:lnTo>
                <a:lnTo>
                  <a:pt x="561" y="2619"/>
                </a:lnTo>
                <a:lnTo>
                  <a:pt x="561" y="2625"/>
                </a:lnTo>
                <a:lnTo>
                  <a:pt x="561" y="2619"/>
                </a:lnTo>
                <a:lnTo>
                  <a:pt x="555" y="2619"/>
                </a:lnTo>
                <a:lnTo>
                  <a:pt x="555" y="2625"/>
                </a:lnTo>
                <a:lnTo>
                  <a:pt x="555" y="2619"/>
                </a:lnTo>
                <a:lnTo>
                  <a:pt x="555" y="2625"/>
                </a:lnTo>
                <a:lnTo>
                  <a:pt x="555" y="2619"/>
                </a:lnTo>
                <a:lnTo>
                  <a:pt x="550" y="2619"/>
                </a:lnTo>
                <a:lnTo>
                  <a:pt x="555" y="2619"/>
                </a:lnTo>
                <a:lnTo>
                  <a:pt x="550" y="2619"/>
                </a:lnTo>
                <a:lnTo>
                  <a:pt x="550" y="2613"/>
                </a:lnTo>
                <a:lnTo>
                  <a:pt x="544" y="2613"/>
                </a:lnTo>
                <a:lnTo>
                  <a:pt x="544" y="2608"/>
                </a:lnTo>
                <a:lnTo>
                  <a:pt x="538" y="2608"/>
                </a:lnTo>
                <a:lnTo>
                  <a:pt x="538" y="2613"/>
                </a:lnTo>
                <a:lnTo>
                  <a:pt x="533" y="2613"/>
                </a:lnTo>
                <a:lnTo>
                  <a:pt x="538" y="2613"/>
                </a:lnTo>
                <a:lnTo>
                  <a:pt x="533" y="2613"/>
                </a:lnTo>
                <a:lnTo>
                  <a:pt x="527" y="2613"/>
                </a:lnTo>
                <a:lnTo>
                  <a:pt x="521" y="2619"/>
                </a:lnTo>
                <a:lnTo>
                  <a:pt x="516" y="2613"/>
                </a:lnTo>
                <a:lnTo>
                  <a:pt x="510" y="2613"/>
                </a:lnTo>
                <a:lnTo>
                  <a:pt x="510" y="2608"/>
                </a:lnTo>
                <a:lnTo>
                  <a:pt x="504" y="2608"/>
                </a:lnTo>
                <a:lnTo>
                  <a:pt x="504" y="2602"/>
                </a:lnTo>
                <a:lnTo>
                  <a:pt x="499" y="2608"/>
                </a:lnTo>
                <a:lnTo>
                  <a:pt x="493" y="2608"/>
                </a:lnTo>
                <a:lnTo>
                  <a:pt x="493" y="2613"/>
                </a:lnTo>
                <a:lnTo>
                  <a:pt x="487" y="2608"/>
                </a:lnTo>
                <a:lnTo>
                  <a:pt x="487" y="2613"/>
                </a:lnTo>
                <a:lnTo>
                  <a:pt x="482" y="2613"/>
                </a:lnTo>
                <a:lnTo>
                  <a:pt x="482" y="2608"/>
                </a:lnTo>
                <a:lnTo>
                  <a:pt x="476" y="2608"/>
                </a:lnTo>
                <a:lnTo>
                  <a:pt x="470" y="2608"/>
                </a:lnTo>
                <a:lnTo>
                  <a:pt x="476" y="2608"/>
                </a:lnTo>
                <a:lnTo>
                  <a:pt x="470" y="2608"/>
                </a:lnTo>
                <a:lnTo>
                  <a:pt x="470" y="2613"/>
                </a:lnTo>
                <a:lnTo>
                  <a:pt x="465" y="2613"/>
                </a:lnTo>
                <a:lnTo>
                  <a:pt x="465" y="2608"/>
                </a:lnTo>
                <a:lnTo>
                  <a:pt x="459" y="2608"/>
                </a:lnTo>
                <a:lnTo>
                  <a:pt x="453" y="2608"/>
                </a:lnTo>
                <a:lnTo>
                  <a:pt x="453" y="2602"/>
                </a:lnTo>
                <a:lnTo>
                  <a:pt x="453" y="2596"/>
                </a:lnTo>
                <a:lnTo>
                  <a:pt x="448" y="2596"/>
                </a:lnTo>
                <a:lnTo>
                  <a:pt x="442" y="2596"/>
                </a:lnTo>
                <a:lnTo>
                  <a:pt x="436" y="2596"/>
                </a:lnTo>
                <a:lnTo>
                  <a:pt x="431" y="2591"/>
                </a:lnTo>
                <a:lnTo>
                  <a:pt x="431" y="2585"/>
                </a:lnTo>
                <a:lnTo>
                  <a:pt x="425" y="2585"/>
                </a:lnTo>
                <a:lnTo>
                  <a:pt x="425" y="2579"/>
                </a:lnTo>
                <a:lnTo>
                  <a:pt x="425" y="2574"/>
                </a:lnTo>
                <a:lnTo>
                  <a:pt x="419" y="2574"/>
                </a:lnTo>
                <a:lnTo>
                  <a:pt x="419" y="2568"/>
                </a:lnTo>
                <a:lnTo>
                  <a:pt x="414" y="2568"/>
                </a:lnTo>
                <a:lnTo>
                  <a:pt x="419" y="2568"/>
                </a:lnTo>
                <a:lnTo>
                  <a:pt x="419" y="2562"/>
                </a:lnTo>
                <a:lnTo>
                  <a:pt x="419" y="2557"/>
                </a:lnTo>
                <a:lnTo>
                  <a:pt x="414" y="2557"/>
                </a:lnTo>
                <a:lnTo>
                  <a:pt x="408" y="2557"/>
                </a:lnTo>
                <a:lnTo>
                  <a:pt x="402" y="2557"/>
                </a:lnTo>
                <a:lnTo>
                  <a:pt x="402" y="2551"/>
                </a:lnTo>
                <a:lnTo>
                  <a:pt x="397" y="2551"/>
                </a:lnTo>
                <a:lnTo>
                  <a:pt x="385" y="2551"/>
                </a:lnTo>
                <a:lnTo>
                  <a:pt x="380" y="2551"/>
                </a:lnTo>
                <a:lnTo>
                  <a:pt x="380" y="2557"/>
                </a:lnTo>
                <a:lnTo>
                  <a:pt x="380" y="2562"/>
                </a:lnTo>
                <a:lnTo>
                  <a:pt x="380" y="2568"/>
                </a:lnTo>
                <a:lnTo>
                  <a:pt x="380" y="2562"/>
                </a:lnTo>
                <a:lnTo>
                  <a:pt x="374" y="2562"/>
                </a:lnTo>
                <a:lnTo>
                  <a:pt x="368" y="2562"/>
                </a:lnTo>
                <a:lnTo>
                  <a:pt x="368" y="2568"/>
                </a:lnTo>
                <a:lnTo>
                  <a:pt x="363" y="2568"/>
                </a:lnTo>
                <a:lnTo>
                  <a:pt x="363" y="2574"/>
                </a:lnTo>
                <a:lnTo>
                  <a:pt x="357" y="2579"/>
                </a:lnTo>
                <a:lnTo>
                  <a:pt x="357" y="2574"/>
                </a:lnTo>
                <a:lnTo>
                  <a:pt x="351" y="2574"/>
                </a:lnTo>
                <a:lnTo>
                  <a:pt x="346" y="2574"/>
                </a:lnTo>
                <a:lnTo>
                  <a:pt x="346" y="2568"/>
                </a:lnTo>
                <a:lnTo>
                  <a:pt x="340" y="2574"/>
                </a:lnTo>
                <a:lnTo>
                  <a:pt x="334" y="2574"/>
                </a:lnTo>
                <a:lnTo>
                  <a:pt x="329" y="2574"/>
                </a:lnTo>
                <a:lnTo>
                  <a:pt x="329" y="2568"/>
                </a:lnTo>
                <a:lnTo>
                  <a:pt x="323" y="2568"/>
                </a:lnTo>
                <a:lnTo>
                  <a:pt x="323" y="2574"/>
                </a:lnTo>
                <a:lnTo>
                  <a:pt x="317" y="2574"/>
                </a:lnTo>
                <a:lnTo>
                  <a:pt x="317" y="2568"/>
                </a:lnTo>
                <a:lnTo>
                  <a:pt x="312" y="2568"/>
                </a:lnTo>
                <a:lnTo>
                  <a:pt x="312" y="2562"/>
                </a:lnTo>
                <a:lnTo>
                  <a:pt x="306" y="2562"/>
                </a:lnTo>
                <a:lnTo>
                  <a:pt x="306" y="2557"/>
                </a:lnTo>
                <a:lnTo>
                  <a:pt x="312" y="2557"/>
                </a:lnTo>
                <a:lnTo>
                  <a:pt x="306" y="2557"/>
                </a:lnTo>
                <a:lnTo>
                  <a:pt x="300" y="2557"/>
                </a:lnTo>
                <a:lnTo>
                  <a:pt x="300" y="2562"/>
                </a:lnTo>
                <a:lnTo>
                  <a:pt x="300" y="2568"/>
                </a:lnTo>
                <a:lnTo>
                  <a:pt x="295" y="2568"/>
                </a:lnTo>
                <a:lnTo>
                  <a:pt x="295" y="2574"/>
                </a:lnTo>
                <a:lnTo>
                  <a:pt x="289" y="2574"/>
                </a:lnTo>
                <a:lnTo>
                  <a:pt x="289" y="2568"/>
                </a:lnTo>
                <a:lnTo>
                  <a:pt x="289" y="2562"/>
                </a:lnTo>
                <a:lnTo>
                  <a:pt x="289" y="2557"/>
                </a:lnTo>
                <a:lnTo>
                  <a:pt x="283" y="2557"/>
                </a:lnTo>
                <a:lnTo>
                  <a:pt x="289" y="2551"/>
                </a:lnTo>
                <a:lnTo>
                  <a:pt x="283" y="2551"/>
                </a:lnTo>
                <a:lnTo>
                  <a:pt x="283" y="2545"/>
                </a:lnTo>
                <a:lnTo>
                  <a:pt x="289" y="2545"/>
                </a:lnTo>
                <a:lnTo>
                  <a:pt x="289" y="2540"/>
                </a:lnTo>
                <a:lnTo>
                  <a:pt x="283" y="2540"/>
                </a:lnTo>
                <a:lnTo>
                  <a:pt x="278" y="2540"/>
                </a:lnTo>
                <a:lnTo>
                  <a:pt x="278" y="2534"/>
                </a:lnTo>
                <a:lnTo>
                  <a:pt x="272" y="2534"/>
                </a:lnTo>
                <a:lnTo>
                  <a:pt x="266" y="2534"/>
                </a:lnTo>
                <a:lnTo>
                  <a:pt x="261" y="2528"/>
                </a:lnTo>
                <a:lnTo>
                  <a:pt x="255" y="2528"/>
                </a:lnTo>
                <a:lnTo>
                  <a:pt x="255" y="2523"/>
                </a:lnTo>
                <a:lnTo>
                  <a:pt x="255" y="2528"/>
                </a:lnTo>
                <a:lnTo>
                  <a:pt x="249" y="2528"/>
                </a:lnTo>
                <a:lnTo>
                  <a:pt x="249" y="2534"/>
                </a:lnTo>
                <a:lnTo>
                  <a:pt x="244" y="2528"/>
                </a:lnTo>
                <a:lnTo>
                  <a:pt x="238" y="2528"/>
                </a:lnTo>
                <a:lnTo>
                  <a:pt x="238" y="2523"/>
                </a:lnTo>
                <a:lnTo>
                  <a:pt x="232" y="2528"/>
                </a:lnTo>
                <a:lnTo>
                  <a:pt x="232" y="2534"/>
                </a:lnTo>
                <a:lnTo>
                  <a:pt x="238" y="2534"/>
                </a:lnTo>
                <a:lnTo>
                  <a:pt x="232" y="2534"/>
                </a:lnTo>
                <a:lnTo>
                  <a:pt x="232" y="2540"/>
                </a:lnTo>
                <a:lnTo>
                  <a:pt x="238" y="2540"/>
                </a:lnTo>
                <a:lnTo>
                  <a:pt x="238" y="2545"/>
                </a:lnTo>
                <a:lnTo>
                  <a:pt x="232" y="2545"/>
                </a:lnTo>
                <a:lnTo>
                  <a:pt x="232" y="2551"/>
                </a:lnTo>
                <a:lnTo>
                  <a:pt x="232" y="2557"/>
                </a:lnTo>
                <a:lnTo>
                  <a:pt x="227" y="2557"/>
                </a:lnTo>
                <a:lnTo>
                  <a:pt x="227" y="2551"/>
                </a:lnTo>
                <a:lnTo>
                  <a:pt x="221" y="2551"/>
                </a:lnTo>
                <a:lnTo>
                  <a:pt x="215" y="2551"/>
                </a:lnTo>
                <a:lnTo>
                  <a:pt x="215" y="2545"/>
                </a:lnTo>
                <a:lnTo>
                  <a:pt x="210" y="2545"/>
                </a:lnTo>
                <a:lnTo>
                  <a:pt x="210" y="2551"/>
                </a:lnTo>
                <a:lnTo>
                  <a:pt x="204" y="2545"/>
                </a:lnTo>
                <a:lnTo>
                  <a:pt x="204" y="2551"/>
                </a:lnTo>
                <a:lnTo>
                  <a:pt x="198" y="2545"/>
                </a:lnTo>
                <a:lnTo>
                  <a:pt x="193" y="2540"/>
                </a:lnTo>
                <a:lnTo>
                  <a:pt x="198" y="2528"/>
                </a:lnTo>
                <a:lnTo>
                  <a:pt x="198" y="2523"/>
                </a:lnTo>
                <a:lnTo>
                  <a:pt x="193" y="2528"/>
                </a:lnTo>
                <a:lnTo>
                  <a:pt x="193" y="2523"/>
                </a:lnTo>
                <a:lnTo>
                  <a:pt x="193" y="2528"/>
                </a:lnTo>
                <a:lnTo>
                  <a:pt x="187" y="2523"/>
                </a:lnTo>
                <a:lnTo>
                  <a:pt x="193" y="2517"/>
                </a:lnTo>
                <a:lnTo>
                  <a:pt x="187" y="2517"/>
                </a:lnTo>
                <a:lnTo>
                  <a:pt x="193" y="2517"/>
                </a:lnTo>
                <a:lnTo>
                  <a:pt x="187" y="2517"/>
                </a:lnTo>
                <a:lnTo>
                  <a:pt x="187" y="2511"/>
                </a:lnTo>
                <a:lnTo>
                  <a:pt x="193" y="2511"/>
                </a:lnTo>
                <a:lnTo>
                  <a:pt x="187" y="2511"/>
                </a:lnTo>
                <a:lnTo>
                  <a:pt x="187" y="2506"/>
                </a:lnTo>
                <a:lnTo>
                  <a:pt x="181" y="2506"/>
                </a:lnTo>
                <a:lnTo>
                  <a:pt x="181" y="2500"/>
                </a:lnTo>
                <a:lnTo>
                  <a:pt x="187" y="2500"/>
                </a:lnTo>
                <a:lnTo>
                  <a:pt x="181" y="2500"/>
                </a:lnTo>
                <a:lnTo>
                  <a:pt x="187" y="2500"/>
                </a:lnTo>
                <a:lnTo>
                  <a:pt x="187" y="2494"/>
                </a:lnTo>
                <a:lnTo>
                  <a:pt x="181" y="2494"/>
                </a:lnTo>
                <a:lnTo>
                  <a:pt x="176" y="2494"/>
                </a:lnTo>
                <a:lnTo>
                  <a:pt x="176" y="2489"/>
                </a:lnTo>
                <a:lnTo>
                  <a:pt x="170" y="2489"/>
                </a:lnTo>
                <a:lnTo>
                  <a:pt x="170" y="2483"/>
                </a:lnTo>
                <a:lnTo>
                  <a:pt x="164" y="2483"/>
                </a:lnTo>
                <a:lnTo>
                  <a:pt x="164" y="2477"/>
                </a:lnTo>
                <a:lnTo>
                  <a:pt x="164" y="2472"/>
                </a:lnTo>
                <a:lnTo>
                  <a:pt x="159" y="2472"/>
                </a:lnTo>
                <a:lnTo>
                  <a:pt x="164" y="2472"/>
                </a:lnTo>
                <a:lnTo>
                  <a:pt x="159" y="2472"/>
                </a:lnTo>
                <a:lnTo>
                  <a:pt x="159" y="2466"/>
                </a:lnTo>
                <a:lnTo>
                  <a:pt x="159" y="2460"/>
                </a:lnTo>
                <a:lnTo>
                  <a:pt x="164" y="2460"/>
                </a:lnTo>
                <a:lnTo>
                  <a:pt x="164" y="2466"/>
                </a:lnTo>
                <a:lnTo>
                  <a:pt x="164" y="2460"/>
                </a:lnTo>
                <a:lnTo>
                  <a:pt x="170" y="2460"/>
                </a:lnTo>
                <a:lnTo>
                  <a:pt x="164" y="2460"/>
                </a:lnTo>
                <a:lnTo>
                  <a:pt x="164" y="2455"/>
                </a:lnTo>
                <a:lnTo>
                  <a:pt x="164" y="2460"/>
                </a:lnTo>
                <a:lnTo>
                  <a:pt x="164" y="2455"/>
                </a:lnTo>
                <a:lnTo>
                  <a:pt x="164" y="2449"/>
                </a:lnTo>
                <a:lnTo>
                  <a:pt x="159" y="2449"/>
                </a:lnTo>
                <a:lnTo>
                  <a:pt x="153" y="2449"/>
                </a:lnTo>
                <a:lnTo>
                  <a:pt x="153" y="2443"/>
                </a:lnTo>
                <a:lnTo>
                  <a:pt x="153" y="2438"/>
                </a:lnTo>
                <a:lnTo>
                  <a:pt x="159" y="2438"/>
                </a:lnTo>
                <a:lnTo>
                  <a:pt x="159" y="2432"/>
                </a:lnTo>
                <a:lnTo>
                  <a:pt x="153" y="2438"/>
                </a:lnTo>
                <a:lnTo>
                  <a:pt x="153" y="2432"/>
                </a:lnTo>
                <a:lnTo>
                  <a:pt x="153" y="2426"/>
                </a:lnTo>
                <a:lnTo>
                  <a:pt x="153" y="2432"/>
                </a:lnTo>
                <a:lnTo>
                  <a:pt x="147" y="2426"/>
                </a:lnTo>
                <a:lnTo>
                  <a:pt x="142" y="2426"/>
                </a:lnTo>
                <a:lnTo>
                  <a:pt x="142" y="2421"/>
                </a:lnTo>
                <a:lnTo>
                  <a:pt x="136" y="2421"/>
                </a:lnTo>
                <a:lnTo>
                  <a:pt x="136" y="2415"/>
                </a:lnTo>
                <a:lnTo>
                  <a:pt x="130" y="2415"/>
                </a:lnTo>
                <a:lnTo>
                  <a:pt x="125" y="2415"/>
                </a:lnTo>
                <a:lnTo>
                  <a:pt x="125" y="2409"/>
                </a:lnTo>
                <a:lnTo>
                  <a:pt x="119" y="2409"/>
                </a:lnTo>
                <a:lnTo>
                  <a:pt x="113" y="2409"/>
                </a:lnTo>
                <a:lnTo>
                  <a:pt x="113" y="2415"/>
                </a:lnTo>
                <a:lnTo>
                  <a:pt x="108" y="2415"/>
                </a:lnTo>
                <a:lnTo>
                  <a:pt x="102" y="2409"/>
                </a:lnTo>
                <a:lnTo>
                  <a:pt x="102" y="2404"/>
                </a:lnTo>
                <a:lnTo>
                  <a:pt x="102" y="2398"/>
                </a:lnTo>
                <a:lnTo>
                  <a:pt x="102" y="2392"/>
                </a:lnTo>
                <a:lnTo>
                  <a:pt x="102" y="2387"/>
                </a:lnTo>
                <a:lnTo>
                  <a:pt x="102" y="2381"/>
                </a:lnTo>
                <a:lnTo>
                  <a:pt x="108" y="2381"/>
                </a:lnTo>
                <a:lnTo>
                  <a:pt x="108" y="2375"/>
                </a:lnTo>
                <a:lnTo>
                  <a:pt x="108" y="2370"/>
                </a:lnTo>
                <a:lnTo>
                  <a:pt x="102" y="2364"/>
                </a:lnTo>
                <a:lnTo>
                  <a:pt x="108" y="2364"/>
                </a:lnTo>
                <a:lnTo>
                  <a:pt x="108" y="2358"/>
                </a:lnTo>
                <a:lnTo>
                  <a:pt x="108" y="2353"/>
                </a:lnTo>
                <a:lnTo>
                  <a:pt x="113" y="2353"/>
                </a:lnTo>
                <a:lnTo>
                  <a:pt x="119" y="2353"/>
                </a:lnTo>
                <a:lnTo>
                  <a:pt x="119" y="2347"/>
                </a:lnTo>
                <a:lnTo>
                  <a:pt x="125" y="2347"/>
                </a:lnTo>
                <a:lnTo>
                  <a:pt x="125" y="2341"/>
                </a:lnTo>
                <a:lnTo>
                  <a:pt x="125" y="2336"/>
                </a:lnTo>
                <a:lnTo>
                  <a:pt x="130" y="2330"/>
                </a:lnTo>
                <a:lnTo>
                  <a:pt x="125" y="2330"/>
                </a:lnTo>
                <a:lnTo>
                  <a:pt x="125" y="2324"/>
                </a:lnTo>
                <a:lnTo>
                  <a:pt x="130" y="2324"/>
                </a:lnTo>
                <a:lnTo>
                  <a:pt x="130" y="2319"/>
                </a:lnTo>
                <a:lnTo>
                  <a:pt x="136" y="2319"/>
                </a:lnTo>
                <a:lnTo>
                  <a:pt x="136" y="2313"/>
                </a:lnTo>
                <a:lnTo>
                  <a:pt x="142" y="2313"/>
                </a:lnTo>
                <a:lnTo>
                  <a:pt x="142" y="2307"/>
                </a:lnTo>
                <a:lnTo>
                  <a:pt x="147" y="2307"/>
                </a:lnTo>
                <a:lnTo>
                  <a:pt x="147" y="2302"/>
                </a:lnTo>
                <a:lnTo>
                  <a:pt x="153" y="2302"/>
                </a:lnTo>
                <a:lnTo>
                  <a:pt x="147" y="2302"/>
                </a:lnTo>
                <a:lnTo>
                  <a:pt x="147" y="2296"/>
                </a:lnTo>
                <a:lnTo>
                  <a:pt x="147" y="2290"/>
                </a:lnTo>
                <a:lnTo>
                  <a:pt x="153" y="2285"/>
                </a:lnTo>
                <a:lnTo>
                  <a:pt x="153" y="2279"/>
                </a:lnTo>
                <a:lnTo>
                  <a:pt x="147" y="2279"/>
                </a:lnTo>
                <a:lnTo>
                  <a:pt x="153" y="2279"/>
                </a:lnTo>
                <a:lnTo>
                  <a:pt x="153" y="2273"/>
                </a:lnTo>
                <a:lnTo>
                  <a:pt x="147" y="2273"/>
                </a:lnTo>
                <a:lnTo>
                  <a:pt x="153" y="2273"/>
                </a:lnTo>
                <a:lnTo>
                  <a:pt x="153" y="2268"/>
                </a:lnTo>
                <a:lnTo>
                  <a:pt x="159" y="2268"/>
                </a:lnTo>
                <a:lnTo>
                  <a:pt x="153" y="2262"/>
                </a:lnTo>
                <a:lnTo>
                  <a:pt x="153" y="2268"/>
                </a:lnTo>
                <a:lnTo>
                  <a:pt x="147" y="2268"/>
                </a:lnTo>
                <a:lnTo>
                  <a:pt x="147" y="2262"/>
                </a:lnTo>
                <a:lnTo>
                  <a:pt x="142" y="2262"/>
                </a:lnTo>
                <a:lnTo>
                  <a:pt x="142" y="2256"/>
                </a:lnTo>
                <a:lnTo>
                  <a:pt x="142" y="2262"/>
                </a:lnTo>
                <a:lnTo>
                  <a:pt x="136" y="2262"/>
                </a:lnTo>
                <a:lnTo>
                  <a:pt x="130" y="2262"/>
                </a:lnTo>
                <a:lnTo>
                  <a:pt x="125" y="2262"/>
                </a:lnTo>
                <a:lnTo>
                  <a:pt x="119" y="2256"/>
                </a:lnTo>
                <a:lnTo>
                  <a:pt x="119" y="2251"/>
                </a:lnTo>
                <a:lnTo>
                  <a:pt x="113" y="2251"/>
                </a:lnTo>
                <a:lnTo>
                  <a:pt x="113" y="2245"/>
                </a:lnTo>
                <a:lnTo>
                  <a:pt x="108" y="2245"/>
                </a:lnTo>
                <a:lnTo>
                  <a:pt x="102" y="2245"/>
                </a:lnTo>
                <a:lnTo>
                  <a:pt x="102" y="2251"/>
                </a:lnTo>
                <a:lnTo>
                  <a:pt x="96" y="2251"/>
                </a:lnTo>
                <a:lnTo>
                  <a:pt x="96" y="2245"/>
                </a:lnTo>
                <a:lnTo>
                  <a:pt x="102" y="2245"/>
                </a:lnTo>
                <a:lnTo>
                  <a:pt x="96" y="2245"/>
                </a:lnTo>
                <a:lnTo>
                  <a:pt x="96" y="2239"/>
                </a:lnTo>
                <a:lnTo>
                  <a:pt x="96" y="2234"/>
                </a:lnTo>
                <a:lnTo>
                  <a:pt x="96" y="2239"/>
                </a:lnTo>
                <a:lnTo>
                  <a:pt x="91" y="2239"/>
                </a:lnTo>
                <a:lnTo>
                  <a:pt x="91" y="2234"/>
                </a:lnTo>
                <a:lnTo>
                  <a:pt x="85" y="2234"/>
                </a:lnTo>
                <a:lnTo>
                  <a:pt x="85" y="2228"/>
                </a:lnTo>
                <a:lnTo>
                  <a:pt x="79" y="2228"/>
                </a:lnTo>
                <a:lnTo>
                  <a:pt x="79" y="2222"/>
                </a:lnTo>
                <a:lnTo>
                  <a:pt x="74" y="2222"/>
                </a:lnTo>
                <a:lnTo>
                  <a:pt x="74" y="2217"/>
                </a:lnTo>
                <a:lnTo>
                  <a:pt x="74" y="2211"/>
                </a:lnTo>
                <a:lnTo>
                  <a:pt x="74" y="2205"/>
                </a:lnTo>
                <a:lnTo>
                  <a:pt x="74" y="2200"/>
                </a:lnTo>
                <a:lnTo>
                  <a:pt x="68" y="2200"/>
                </a:lnTo>
                <a:lnTo>
                  <a:pt x="68" y="2194"/>
                </a:lnTo>
                <a:lnTo>
                  <a:pt x="62" y="2188"/>
                </a:lnTo>
                <a:lnTo>
                  <a:pt x="62" y="2194"/>
                </a:lnTo>
                <a:lnTo>
                  <a:pt x="62" y="2200"/>
                </a:lnTo>
                <a:lnTo>
                  <a:pt x="62" y="2194"/>
                </a:lnTo>
                <a:lnTo>
                  <a:pt x="57" y="2194"/>
                </a:lnTo>
                <a:lnTo>
                  <a:pt x="57" y="2188"/>
                </a:lnTo>
                <a:lnTo>
                  <a:pt x="57" y="2183"/>
                </a:lnTo>
                <a:lnTo>
                  <a:pt x="62" y="2183"/>
                </a:lnTo>
                <a:lnTo>
                  <a:pt x="57" y="2183"/>
                </a:lnTo>
                <a:lnTo>
                  <a:pt x="57" y="2177"/>
                </a:lnTo>
                <a:lnTo>
                  <a:pt x="51" y="2177"/>
                </a:lnTo>
                <a:lnTo>
                  <a:pt x="57" y="2171"/>
                </a:lnTo>
                <a:lnTo>
                  <a:pt x="51" y="2171"/>
                </a:lnTo>
                <a:lnTo>
                  <a:pt x="51" y="2166"/>
                </a:lnTo>
                <a:lnTo>
                  <a:pt x="51" y="2171"/>
                </a:lnTo>
                <a:lnTo>
                  <a:pt x="51" y="2166"/>
                </a:lnTo>
                <a:lnTo>
                  <a:pt x="51" y="2160"/>
                </a:lnTo>
                <a:lnTo>
                  <a:pt x="51" y="2154"/>
                </a:lnTo>
                <a:lnTo>
                  <a:pt x="45" y="2154"/>
                </a:lnTo>
                <a:lnTo>
                  <a:pt x="51" y="2149"/>
                </a:lnTo>
                <a:lnTo>
                  <a:pt x="45" y="2149"/>
                </a:lnTo>
                <a:lnTo>
                  <a:pt x="45" y="2154"/>
                </a:lnTo>
                <a:lnTo>
                  <a:pt x="45" y="2149"/>
                </a:lnTo>
                <a:lnTo>
                  <a:pt x="51" y="2143"/>
                </a:lnTo>
                <a:lnTo>
                  <a:pt x="45" y="2143"/>
                </a:lnTo>
                <a:lnTo>
                  <a:pt x="51" y="2137"/>
                </a:lnTo>
                <a:lnTo>
                  <a:pt x="45" y="2137"/>
                </a:lnTo>
                <a:lnTo>
                  <a:pt x="51" y="2137"/>
                </a:lnTo>
                <a:lnTo>
                  <a:pt x="51" y="2132"/>
                </a:lnTo>
                <a:lnTo>
                  <a:pt x="51" y="2126"/>
                </a:lnTo>
                <a:lnTo>
                  <a:pt x="51" y="2120"/>
                </a:lnTo>
                <a:lnTo>
                  <a:pt x="57" y="2120"/>
                </a:lnTo>
                <a:lnTo>
                  <a:pt x="57" y="2115"/>
                </a:lnTo>
                <a:lnTo>
                  <a:pt x="57" y="2109"/>
                </a:lnTo>
                <a:lnTo>
                  <a:pt x="57" y="2115"/>
                </a:lnTo>
                <a:lnTo>
                  <a:pt x="57" y="2109"/>
                </a:lnTo>
                <a:lnTo>
                  <a:pt x="51" y="2109"/>
                </a:lnTo>
                <a:lnTo>
                  <a:pt x="57" y="2109"/>
                </a:lnTo>
                <a:lnTo>
                  <a:pt x="57" y="2103"/>
                </a:lnTo>
                <a:lnTo>
                  <a:pt x="57" y="2098"/>
                </a:lnTo>
                <a:lnTo>
                  <a:pt x="62" y="2103"/>
                </a:lnTo>
                <a:lnTo>
                  <a:pt x="62" y="2098"/>
                </a:lnTo>
                <a:lnTo>
                  <a:pt x="68" y="2098"/>
                </a:lnTo>
                <a:lnTo>
                  <a:pt x="68" y="2092"/>
                </a:lnTo>
                <a:lnTo>
                  <a:pt x="68" y="2086"/>
                </a:lnTo>
                <a:lnTo>
                  <a:pt x="68" y="2081"/>
                </a:lnTo>
                <a:lnTo>
                  <a:pt x="62" y="2081"/>
                </a:lnTo>
                <a:lnTo>
                  <a:pt x="68" y="2081"/>
                </a:lnTo>
                <a:lnTo>
                  <a:pt x="68" y="2075"/>
                </a:lnTo>
                <a:lnTo>
                  <a:pt x="74" y="2075"/>
                </a:lnTo>
                <a:lnTo>
                  <a:pt x="74" y="2069"/>
                </a:lnTo>
                <a:lnTo>
                  <a:pt x="79" y="2069"/>
                </a:lnTo>
                <a:lnTo>
                  <a:pt x="79" y="2064"/>
                </a:lnTo>
                <a:lnTo>
                  <a:pt x="79" y="2069"/>
                </a:lnTo>
                <a:lnTo>
                  <a:pt x="79" y="2064"/>
                </a:lnTo>
                <a:lnTo>
                  <a:pt x="85" y="2064"/>
                </a:lnTo>
                <a:lnTo>
                  <a:pt x="91" y="2064"/>
                </a:lnTo>
                <a:lnTo>
                  <a:pt x="96" y="2064"/>
                </a:lnTo>
                <a:lnTo>
                  <a:pt x="96" y="2058"/>
                </a:lnTo>
                <a:lnTo>
                  <a:pt x="102" y="2058"/>
                </a:lnTo>
                <a:lnTo>
                  <a:pt x="96" y="2058"/>
                </a:lnTo>
                <a:lnTo>
                  <a:pt x="96" y="2052"/>
                </a:lnTo>
                <a:lnTo>
                  <a:pt x="102" y="2052"/>
                </a:lnTo>
                <a:lnTo>
                  <a:pt x="96" y="2052"/>
                </a:lnTo>
                <a:lnTo>
                  <a:pt x="102" y="2052"/>
                </a:lnTo>
                <a:lnTo>
                  <a:pt x="96" y="2052"/>
                </a:lnTo>
                <a:lnTo>
                  <a:pt x="102" y="2052"/>
                </a:lnTo>
                <a:lnTo>
                  <a:pt x="102" y="2046"/>
                </a:lnTo>
                <a:lnTo>
                  <a:pt x="108" y="2046"/>
                </a:lnTo>
                <a:lnTo>
                  <a:pt x="108" y="2041"/>
                </a:lnTo>
                <a:lnTo>
                  <a:pt x="102" y="2041"/>
                </a:lnTo>
                <a:lnTo>
                  <a:pt x="108" y="2041"/>
                </a:lnTo>
                <a:lnTo>
                  <a:pt x="113" y="2035"/>
                </a:lnTo>
                <a:lnTo>
                  <a:pt x="113" y="2041"/>
                </a:lnTo>
                <a:lnTo>
                  <a:pt x="119" y="2041"/>
                </a:lnTo>
                <a:lnTo>
                  <a:pt x="119" y="2046"/>
                </a:lnTo>
                <a:lnTo>
                  <a:pt x="119" y="2041"/>
                </a:lnTo>
                <a:lnTo>
                  <a:pt x="119" y="2046"/>
                </a:lnTo>
                <a:lnTo>
                  <a:pt x="119" y="2041"/>
                </a:lnTo>
                <a:lnTo>
                  <a:pt x="125" y="2041"/>
                </a:lnTo>
                <a:lnTo>
                  <a:pt x="125" y="2046"/>
                </a:lnTo>
                <a:lnTo>
                  <a:pt x="125" y="2041"/>
                </a:lnTo>
                <a:lnTo>
                  <a:pt x="130" y="2041"/>
                </a:lnTo>
                <a:lnTo>
                  <a:pt x="136" y="2035"/>
                </a:lnTo>
                <a:lnTo>
                  <a:pt x="130" y="2035"/>
                </a:lnTo>
                <a:lnTo>
                  <a:pt x="130" y="2029"/>
                </a:lnTo>
                <a:lnTo>
                  <a:pt x="125" y="2024"/>
                </a:lnTo>
                <a:lnTo>
                  <a:pt x="125" y="2018"/>
                </a:lnTo>
                <a:lnTo>
                  <a:pt x="119" y="2018"/>
                </a:lnTo>
                <a:lnTo>
                  <a:pt x="119" y="2012"/>
                </a:lnTo>
                <a:lnTo>
                  <a:pt x="119" y="2007"/>
                </a:lnTo>
                <a:lnTo>
                  <a:pt x="125" y="2007"/>
                </a:lnTo>
                <a:lnTo>
                  <a:pt x="125" y="2001"/>
                </a:lnTo>
                <a:lnTo>
                  <a:pt x="125" y="1995"/>
                </a:lnTo>
                <a:lnTo>
                  <a:pt x="125" y="1990"/>
                </a:lnTo>
                <a:lnTo>
                  <a:pt x="125" y="1984"/>
                </a:lnTo>
                <a:lnTo>
                  <a:pt x="125" y="1978"/>
                </a:lnTo>
                <a:lnTo>
                  <a:pt x="119" y="1978"/>
                </a:lnTo>
                <a:lnTo>
                  <a:pt x="119" y="1973"/>
                </a:lnTo>
                <a:lnTo>
                  <a:pt x="119" y="1967"/>
                </a:lnTo>
                <a:lnTo>
                  <a:pt x="113" y="1967"/>
                </a:lnTo>
                <a:lnTo>
                  <a:pt x="113" y="1961"/>
                </a:lnTo>
                <a:lnTo>
                  <a:pt x="108" y="1961"/>
                </a:lnTo>
                <a:lnTo>
                  <a:pt x="102" y="1961"/>
                </a:lnTo>
                <a:lnTo>
                  <a:pt x="96" y="1961"/>
                </a:lnTo>
                <a:lnTo>
                  <a:pt x="91" y="1961"/>
                </a:lnTo>
                <a:lnTo>
                  <a:pt x="85" y="1961"/>
                </a:lnTo>
                <a:lnTo>
                  <a:pt x="85" y="1956"/>
                </a:lnTo>
                <a:lnTo>
                  <a:pt x="85" y="1950"/>
                </a:lnTo>
                <a:lnTo>
                  <a:pt x="79" y="1950"/>
                </a:lnTo>
                <a:lnTo>
                  <a:pt x="79" y="1944"/>
                </a:lnTo>
                <a:lnTo>
                  <a:pt x="74" y="1939"/>
                </a:lnTo>
                <a:lnTo>
                  <a:pt x="74" y="1933"/>
                </a:lnTo>
                <a:lnTo>
                  <a:pt x="79" y="1933"/>
                </a:lnTo>
                <a:lnTo>
                  <a:pt x="79" y="1927"/>
                </a:lnTo>
                <a:lnTo>
                  <a:pt x="85" y="1927"/>
                </a:lnTo>
                <a:lnTo>
                  <a:pt x="85" y="1922"/>
                </a:lnTo>
                <a:lnTo>
                  <a:pt x="91" y="1922"/>
                </a:lnTo>
                <a:lnTo>
                  <a:pt x="96" y="1922"/>
                </a:lnTo>
                <a:lnTo>
                  <a:pt x="96" y="1916"/>
                </a:lnTo>
                <a:lnTo>
                  <a:pt x="102" y="1910"/>
                </a:lnTo>
                <a:lnTo>
                  <a:pt x="102" y="1905"/>
                </a:lnTo>
                <a:lnTo>
                  <a:pt x="96" y="1905"/>
                </a:lnTo>
                <a:lnTo>
                  <a:pt x="91" y="1905"/>
                </a:lnTo>
                <a:lnTo>
                  <a:pt x="85" y="1905"/>
                </a:lnTo>
                <a:lnTo>
                  <a:pt x="79" y="1905"/>
                </a:lnTo>
                <a:lnTo>
                  <a:pt x="79" y="1899"/>
                </a:lnTo>
                <a:lnTo>
                  <a:pt x="79" y="1905"/>
                </a:lnTo>
                <a:lnTo>
                  <a:pt x="74" y="1905"/>
                </a:lnTo>
                <a:lnTo>
                  <a:pt x="79" y="1905"/>
                </a:lnTo>
                <a:lnTo>
                  <a:pt x="79" y="1899"/>
                </a:lnTo>
                <a:lnTo>
                  <a:pt x="74" y="1899"/>
                </a:lnTo>
                <a:lnTo>
                  <a:pt x="79" y="1899"/>
                </a:lnTo>
                <a:lnTo>
                  <a:pt x="79" y="1893"/>
                </a:lnTo>
                <a:lnTo>
                  <a:pt x="74" y="1893"/>
                </a:lnTo>
                <a:lnTo>
                  <a:pt x="74" y="1888"/>
                </a:lnTo>
                <a:lnTo>
                  <a:pt x="74" y="1882"/>
                </a:lnTo>
                <a:lnTo>
                  <a:pt x="68" y="1882"/>
                </a:lnTo>
                <a:lnTo>
                  <a:pt x="68" y="1876"/>
                </a:lnTo>
                <a:lnTo>
                  <a:pt x="68" y="1871"/>
                </a:lnTo>
                <a:lnTo>
                  <a:pt x="62" y="1871"/>
                </a:lnTo>
                <a:lnTo>
                  <a:pt x="62" y="1865"/>
                </a:lnTo>
                <a:lnTo>
                  <a:pt x="62" y="1859"/>
                </a:lnTo>
                <a:lnTo>
                  <a:pt x="57" y="1859"/>
                </a:lnTo>
                <a:lnTo>
                  <a:pt x="57" y="1865"/>
                </a:lnTo>
                <a:lnTo>
                  <a:pt x="57" y="1859"/>
                </a:lnTo>
                <a:lnTo>
                  <a:pt x="51" y="1859"/>
                </a:lnTo>
                <a:lnTo>
                  <a:pt x="45" y="1859"/>
                </a:lnTo>
                <a:lnTo>
                  <a:pt x="40" y="1859"/>
                </a:lnTo>
                <a:lnTo>
                  <a:pt x="40" y="1865"/>
                </a:lnTo>
                <a:lnTo>
                  <a:pt x="40" y="1859"/>
                </a:lnTo>
                <a:lnTo>
                  <a:pt x="40" y="1854"/>
                </a:lnTo>
                <a:lnTo>
                  <a:pt x="40" y="1848"/>
                </a:lnTo>
                <a:lnTo>
                  <a:pt x="34" y="1848"/>
                </a:lnTo>
                <a:lnTo>
                  <a:pt x="34" y="1842"/>
                </a:lnTo>
                <a:lnTo>
                  <a:pt x="40" y="1842"/>
                </a:lnTo>
                <a:lnTo>
                  <a:pt x="40" y="1837"/>
                </a:lnTo>
                <a:lnTo>
                  <a:pt x="34" y="1837"/>
                </a:lnTo>
                <a:lnTo>
                  <a:pt x="34" y="1831"/>
                </a:lnTo>
                <a:lnTo>
                  <a:pt x="28" y="1831"/>
                </a:lnTo>
                <a:lnTo>
                  <a:pt x="28" y="1825"/>
                </a:lnTo>
                <a:lnTo>
                  <a:pt x="23" y="1825"/>
                </a:lnTo>
                <a:lnTo>
                  <a:pt x="28" y="1825"/>
                </a:lnTo>
                <a:lnTo>
                  <a:pt x="28" y="1820"/>
                </a:lnTo>
                <a:lnTo>
                  <a:pt x="34" y="1825"/>
                </a:lnTo>
                <a:lnTo>
                  <a:pt x="34" y="1820"/>
                </a:lnTo>
                <a:lnTo>
                  <a:pt x="40" y="1820"/>
                </a:lnTo>
                <a:lnTo>
                  <a:pt x="40" y="1814"/>
                </a:lnTo>
                <a:lnTo>
                  <a:pt x="34" y="1814"/>
                </a:lnTo>
                <a:lnTo>
                  <a:pt x="40" y="1808"/>
                </a:lnTo>
                <a:lnTo>
                  <a:pt x="34" y="1808"/>
                </a:lnTo>
                <a:lnTo>
                  <a:pt x="40" y="1808"/>
                </a:lnTo>
                <a:lnTo>
                  <a:pt x="40" y="1803"/>
                </a:lnTo>
                <a:lnTo>
                  <a:pt x="45" y="1803"/>
                </a:lnTo>
                <a:lnTo>
                  <a:pt x="51" y="1803"/>
                </a:lnTo>
                <a:lnTo>
                  <a:pt x="51" y="1808"/>
                </a:lnTo>
                <a:lnTo>
                  <a:pt x="57" y="1803"/>
                </a:lnTo>
                <a:lnTo>
                  <a:pt x="57" y="1797"/>
                </a:lnTo>
                <a:lnTo>
                  <a:pt x="57" y="1791"/>
                </a:lnTo>
                <a:lnTo>
                  <a:pt x="57" y="1786"/>
                </a:lnTo>
                <a:lnTo>
                  <a:pt x="57" y="1780"/>
                </a:lnTo>
                <a:lnTo>
                  <a:pt x="62" y="1774"/>
                </a:lnTo>
                <a:lnTo>
                  <a:pt x="57" y="1774"/>
                </a:lnTo>
                <a:lnTo>
                  <a:pt x="51" y="1774"/>
                </a:lnTo>
                <a:lnTo>
                  <a:pt x="51" y="1769"/>
                </a:lnTo>
                <a:lnTo>
                  <a:pt x="45" y="1769"/>
                </a:lnTo>
                <a:lnTo>
                  <a:pt x="40" y="1769"/>
                </a:lnTo>
                <a:lnTo>
                  <a:pt x="40" y="1763"/>
                </a:lnTo>
                <a:lnTo>
                  <a:pt x="34" y="1757"/>
                </a:lnTo>
                <a:lnTo>
                  <a:pt x="40" y="1757"/>
                </a:lnTo>
                <a:lnTo>
                  <a:pt x="40" y="1752"/>
                </a:lnTo>
                <a:lnTo>
                  <a:pt x="45" y="1752"/>
                </a:lnTo>
                <a:lnTo>
                  <a:pt x="45" y="1746"/>
                </a:lnTo>
                <a:lnTo>
                  <a:pt x="40" y="1746"/>
                </a:lnTo>
                <a:lnTo>
                  <a:pt x="34" y="1746"/>
                </a:lnTo>
                <a:lnTo>
                  <a:pt x="28" y="1746"/>
                </a:lnTo>
                <a:lnTo>
                  <a:pt x="23" y="1746"/>
                </a:lnTo>
                <a:lnTo>
                  <a:pt x="17" y="1746"/>
                </a:lnTo>
                <a:lnTo>
                  <a:pt x="11" y="1746"/>
                </a:lnTo>
                <a:lnTo>
                  <a:pt x="11" y="1752"/>
                </a:lnTo>
                <a:lnTo>
                  <a:pt x="6" y="1746"/>
                </a:lnTo>
                <a:lnTo>
                  <a:pt x="11" y="1746"/>
                </a:lnTo>
                <a:lnTo>
                  <a:pt x="11" y="1740"/>
                </a:lnTo>
                <a:lnTo>
                  <a:pt x="11" y="1735"/>
                </a:lnTo>
                <a:lnTo>
                  <a:pt x="6" y="1735"/>
                </a:lnTo>
                <a:lnTo>
                  <a:pt x="6" y="1729"/>
                </a:lnTo>
                <a:lnTo>
                  <a:pt x="0" y="1723"/>
                </a:lnTo>
                <a:lnTo>
                  <a:pt x="6" y="1723"/>
                </a:lnTo>
                <a:lnTo>
                  <a:pt x="6" y="1718"/>
                </a:lnTo>
                <a:lnTo>
                  <a:pt x="0" y="1718"/>
                </a:lnTo>
                <a:lnTo>
                  <a:pt x="0" y="1712"/>
                </a:lnTo>
                <a:lnTo>
                  <a:pt x="0" y="1718"/>
                </a:lnTo>
                <a:lnTo>
                  <a:pt x="6" y="1718"/>
                </a:lnTo>
                <a:lnTo>
                  <a:pt x="6" y="1712"/>
                </a:lnTo>
                <a:lnTo>
                  <a:pt x="11" y="1712"/>
                </a:lnTo>
                <a:lnTo>
                  <a:pt x="6" y="1712"/>
                </a:lnTo>
                <a:lnTo>
                  <a:pt x="11" y="1712"/>
                </a:lnTo>
                <a:lnTo>
                  <a:pt x="11" y="1706"/>
                </a:lnTo>
                <a:lnTo>
                  <a:pt x="11" y="1712"/>
                </a:lnTo>
                <a:lnTo>
                  <a:pt x="17" y="1712"/>
                </a:lnTo>
                <a:lnTo>
                  <a:pt x="17" y="1718"/>
                </a:lnTo>
                <a:lnTo>
                  <a:pt x="23" y="1723"/>
                </a:lnTo>
                <a:lnTo>
                  <a:pt x="28" y="1723"/>
                </a:lnTo>
                <a:lnTo>
                  <a:pt x="28" y="1718"/>
                </a:lnTo>
                <a:lnTo>
                  <a:pt x="28" y="1712"/>
                </a:lnTo>
                <a:lnTo>
                  <a:pt x="34" y="1712"/>
                </a:lnTo>
                <a:lnTo>
                  <a:pt x="34" y="1706"/>
                </a:lnTo>
                <a:lnTo>
                  <a:pt x="40" y="1701"/>
                </a:lnTo>
                <a:lnTo>
                  <a:pt x="45" y="1701"/>
                </a:lnTo>
                <a:lnTo>
                  <a:pt x="51" y="1695"/>
                </a:lnTo>
                <a:lnTo>
                  <a:pt x="57" y="1695"/>
                </a:lnTo>
                <a:lnTo>
                  <a:pt x="57" y="1689"/>
                </a:lnTo>
                <a:lnTo>
                  <a:pt x="62" y="1689"/>
                </a:lnTo>
                <a:lnTo>
                  <a:pt x="62" y="1684"/>
                </a:lnTo>
                <a:lnTo>
                  <a:pt x="62" y="1689"/>
                </a:lnTo>
                <a:lnTo>
                  <a:pt x="62" y="1684"/>
                </a:lnTo>
                <a:lnTo>
                  <a:pt x="68" y="1684"/>
                </a:lnTo>
                <a:lnTo>
                  <a:pt x="68" y="1678"/>
                </a:lnTo>
                <a:lnTo>
                  <a:pt x="74" y="1678"/>
                </a:lnTo>
                <a:lnTo>
                  <a:pt x="79" y="1678"/>
                </a:lnTo>
                <a:lnTo>
                  <a:pt x="85" y="1678"/>
                </a:lnTo>
                <a:lnTo>
                  <a:pt x="85" y="1672"/>
                </a:lnTo>
                <a:lnTo>
                  <a:pt x="91" y="1672"/>
                </a:lnTo>
                <a:lnTo>
                  <a:pt x="79" y="1667"/>
                </a:lnTo>
                <a:lnTo>
                  <a:pt x="91" y="1661"/>
                </a:lnTo>
                <a:lnTo>
                  <a:pt x="85" y="1655"/>
                </a:lnTo>
                <a:lnTo>
                  <a:pt x="85" y="1661"/>
                </a:lnTo>
                <a:lnTo>
                  <a:pt x="74" y="1661"/>
                </a:lnTo>
                <a:lnTo>
                  <a:pt x="74" y="1667"/>
                </a:lnTo>
                <a:lnTo>
                  <a:pt x="68" y="1667"/>
                </a:lnTo>
                <a:lnTo>
                  <a:pt x="62" y="1667"/>
                </a:lnTo>
                <a:lnTo>
                  <a:pt x="62" y="1661"/>
                </a:lnTo>
                <a:lnTo>
                  <a:pt x="62" y="1655"/>
                </a:lnTo>
                <a:lnTo>
                  <a:pt x="62" y="1650"/>
                </a:lnTo>
                <a:lnTo>
                  <a:pt x="62" y="1644"/>
                </a:lnTo>
                <a:lnTo>
                  <a:pt x="68" y="1644"/>
                </a:lnTo>
                <a:lnTo>
                  <a:pt x="62" y="1644"/>
                </a:lnTo>
                <a:lnTo>
                  <a:pt x="62" y="1633"/>
                </a:lnTo>
                <a:lnTo>
                  <a:pt x="68" y="1633"/>
                </a:lnTo>
                <a:lnTo>
                  <a:pt x="68" y="1627"/>
                </a:lnTo>
                <a:lnTo>
                  <a:pt x="79" y="1621"/>
                </a:lnTo>
                <a:lnTo>
                  <a:pt x="79" y="1616"/>
                </a:lnTo>
                <a:lnTo>
                  <a:pt x="85" y="1610"/>
                </a:lnTo>
                <a:lnTo>
                  <a:pt x="85" y="1604"/>
                </a:lnTo>
                <a:lnTo>
                  <a:pt x="91" y="1604"/>
                </a:lnTo>
                <a:lnTo>
                  <a:pt x="91" y="1599"/>
                </a:lnTo>
                <a:lnTo>
                  <a:pt x="96" y="1599"/>
                </a:lnTo>
                <a:lnTo>
                  <a:pt x="96" y="1593"/>
                </a:lnTo>
                <a:lnTo>
                  <a:pt x="108" y="1587"/>
                </a:lnTo>
                <a:lnTo>
                  <a:pt x="108" y="1582"/>
                </a:lnTo>
                <a:lnTo>
                  <a:pt x="102" y="1576"/>
                </a:lnTo>
                <a:lnTo>
                  <a:pt x="102" y="1570"/>
                </a:lnTo>
                <a:lnTo>
                  <a:pt x="108" y="1570"/>
                </a:lnTo>
                <a:lnTo>
                  <a:pt x="102" y="1570"/>
                </a:lnTo>
                <a:lnTo>
                  <a:pt x="102" y="1565"/>
                </a:lnTo>
                <a:lnTo>
                  <a:pt x="108" y="1553"/>
                </a:lnTo>
                <a:lnTo>
                  <a:pt x="108" y="1548"/>
                </a:lnTo>
                <a:lnTo>
                  <a:pt x="108" y="1542"/>
                </a:lnTo>
                <a:lnTo>
                  <a:pt x="108" y="1536"/>
                </a:lnTo>
                <a:lnTo>
                  <a:pt x="108" y="1531"/>
                </a:lnTo>
                <a:lnTo>
                  <a:pt x="108" y="1525"/>
                </a:lnTo>
                <a:lnTo>
                  <a:pt x="108" y="1519"/>
                </a:lnTo>
                <a:lnTo>
                  <a:pt x="102" y="1514"/>
                </a:lnTo>
                <a:lnTo>
                  <a:pt x="102" y="1508"/>
                </a:lnTo>
                <a:lnTo>
                  <a:pt x="96" y="1508"/>
                </a:lnTo>
                <a:lnTo>
                  <a:pt x="96" y="1502"/>
                </a:lnTo>
                <a:lnTo>
                  <a:pt x="96" y="1497"/>
                </a:lnTo>
                <a:lnTo>
                  <a:pt x="91" y="1497"/>
                </a:lnTo>
                <a:lnTo>
                  <a:pt x="91" y="1491"/>
                </a:lnTo>
                <a:lnTo>
                  <a:pt x="85" y="1491"/>
                </a:lnTo>
                <a:lnTo>
                  <a:pt x="85" y="1485"/>
                </a:lnTo>
                <a:lnTo>
                  <a:pt x="74" y="1480"/>
                </a:lnTo>
                <a:lnTo>
                  <a:pt x="79" y="1474"/>
                </a:lnTo>
                <a:lnTo>
                  <a:pt x="79" y="1468"/>
                </a:lnTo>
                <a:lnTo>
                  <a:pt x="79" y="1463"/>
                </a:lnTo>
                <a:lnTo>
                  <a:pt x="79" y="1457"/>
                </a:lnTo>
                <a:lnTo>
                  <a:pt x="85" y="1457"/>
                </a:lnTo>
                <a:lnTo>
                  <a:pt x="79" y="1457"/>
                </a:lnTo>
                <a:lnTo>
                  <a:pt x="79" y="1451"/>
                </a:lnTo>
                <a:lnTo>
                  <a:pt x="79" y="1457"/>
                </a:lnTo>
                <a:lnTo>
                  <a:pt x="79" y="1451"/>
                </a:lnTo>
                <a:lnTo>
                  <a:pt x="74" y="1451"/>
                </a:lnTo>
                <a:lnTo>
                  <a:pt x="62" y="1446"/>
                </a:lnTo>
                <a:lnTo>
                  <a:pt x="62" y="1440"/>
                </a:lnTo>
                <a:lnTo>
                  <a:pt x="62" y="1434"/>
                </a:lnTo>
                <a:lnTo>
                  <a:pt x="62" y="1429"/>
                </a:lnTo>
                <a:lnTo>
                  <a:pt x="68" y="1429"/>
                </a:lnTo>
                <a:lnTo>
                  <a:pt x="62" y="1429"/>
                </a:lnTo>
                <a:lnTo>
                  <a:pt x="62" y="1423"/>
                </a:lnTo>
                <a:lnTo>
                  <a:pt x="57" y="1423"/>
                </a:lnTo>
                <a:lnTo>
                  <a:pt x="57" y="1417"/>
                </a:lnTo>
                <a:lnTo>
                  <a:pt x="51" y="1417"/>
                </a:lnTo>
                <a:lnTo>
                  <a:pt x="45" y="1417"/>
                </a:lnTo>
                <a:lnTo>
                  <a:pt x="40" y="1417"/>
                </a:lnTo>
                <a:lnTo>
                  <a:pt x="40" y="1412"/>
                </a:lnTo>
                <a:lnTo>
                  <a:pt x="45" y="1412"/>
                </a:lnTo>
                <a:lnTo>
                  <a:pt x="51" y="1406"/>
                </a:lnTo>
                <a:lnTo>
                  <a:pt x="51" y="1400"/>
                </a:lnTo>
                <a:lnTo>
                  <a:pt x="51" y="1395"/>
                </a:lnTo>
                <a:lnTo>
                  <a:pt x="51" y="1400"/>
                </a:lnTo>
                <a:lnTo>
                  <a:pt x="51" y="1395"/>
                </a:lnTo>
                <a:lnTo>
                  <a:pt x="51" y="1389"/>
                </a:lnTo>
                <a:lnTo>
                  <a:pt x="45" y="1389"/>
                </a:lnTo>
                <a:lnTo>
                  <a:pt x="40" y="1389"/>
                </a:lnTo>
                <a:lnTo>
                  <a:pt x="40" y="1383"/>
                </a:lnTo>
                <a:lnTo>
                  <a:pt x="45" y="1383"/>
                </a:lnTo>
                <a:lnTo>
                  <a:pt x="40" y="1383"/>
                </a:lnTo>
                <a:lnTo>
                  <a:pt x="40" y="1378"/>
                </a:lnTo>
                <a:lnTo>
                  <a:pt x="45" y="1378"/>
                </a:lnTo>
                <a:lnTo>
                  <a:pt x="51" y="1378"/>
                </a:lnTo>
                <a:lnTo>
                  <a:pt x="57" y="1378"/>
                </a:lnTo>
                <a:lnTo>
                  <a:pt x="62" y="1378"/>
                </a:lnTo>
                <a:lnTo>
                  <a:pt x="62" y="1372"/>
                </a:lnTo>
                <a:lnTo>
                  <a:pt x="68" y="1372"/>
                </a:lnTo>
                <a:lnTo>
                  <a:pt x="74" y="1372"/>
                </a:lnTo>
                <a:lnTo>
                  <a:pt x="74" y="1366"/>
                </a:lnTo>
                <a:lnTo>
                  <a:pt x="79" y="1366"/>
                </a:lnTo>
                <a:lnTo>
                  <a:pt x="79" y="1372"/>
                </a:lnTo>
                <a:lnTo>
                  <a:pt x="85" y="1372"/>
                </a:lnTo>
                <a:lnTo>
                  <a:pt x="91" y="1372"/>
                </a:lnTo>
                <a:lnTo>
                  <a:pt x="96" y="1372"/>
                </a:lnTo>
                <a:lnTo>
                  <a:pt x="102" y="1378"/>
                </a:lnTo>
                <a:lnTo>
                  <a:pt x="102" y="1372"/>
                </a:lnTo>
                <a:lnTo>
                  <a:pt x="102" y="1366"/>
                </a:lnTo>
                <a:lnTo>
                  <a:pt x="96" y="1366"/>
                </a:lnTo>
                <a:lnTo>
                  <a:pt x="96" y="1361"/>
                </a:lnTo>
                <a:lnTo>
                  <a:pt x="96" y="1355"/>
                </a:lnTo>
                <a:lnTo>
                  <a:pt x="91" y="1355"/>
                </a:lnTo>
                <a:lnTo>
                  <a:pt x="85" y="1355"/>
                </a:lnTo>
                <a:lnTo>
                  <a:pt x="85" y="1349"/>
                </a:lnTo>
                <a:lnTo>
                  <a:pt x="91" y="1349"/>
                </a:lnTo>
                <a:lnTo>
                  <a:pt x="96" y="1349"/>
                </a:lnTo>
                <a:lnTo>
                  <a:pt x="102" y="1349"/>
                </a:lnTo>
                <a:lnTo>
                  <a:pt x="108" y="1349"/>
                </a:lnTo>
                <a:lnTo>
                  <a:pt x="108" y="1355"/>
                </a:lnTo>
                <a:lnTo>
                  <a:pt x="108" y="1361"/>
                </a:lnTo>
                <a:lnTo>
                  <a:pt x="113" y="1361"/>
                </a:lnTo>
                <a:lnTo>
                  <a:pt x="113" y="1366"/>
                </a:lnTo>
                <a:lnTo>
                  <a:pt x="119" y="1366"/>
                </a:lnTo>
                <a:lnTo>
                  <a:pt x="125" y="1366"/>
                </a:lnTo>
                <a:lnTo>
                  <a:pt x="130" y="1366"/>
                </a:lnTo>
                <a:lnTo>
                  <a:pt x="130" y="1361"/>
                </a:lnTo>
                <a:lnTo>
                  <a:pt x="130" y="1366"/>
                </a:lnTo>
                <a:lnTo>
                  <a:pt x="130" y="1361"/>
                </a:lnTo>
                <a:lnTo>
                  <a:pt x="130" y="1366"/>
                </a:lnTo>
                <a:lnTo>
                  <a:pt x="136" y="1366"/>
                </a:lnTo>
                <a:lnTo>
                  <a:pt x="136" y="1372"/>
                </a:lnTo>
                <a:lnTo>
                  <a:pt x="142" y="1372"/>
                </a:lnTo>
                <a:lnTo>
                  <a:pt x="136" y="1372"/>
                </a:lnTo>
                <a:lnTo>
                  <a:pt x="142" y="1372"/>
                </a:lnTo>
                <a:lnTo>
                  <a:pt x="147" y="1372"/>
                </a:lnTo>
                <a:lnTo>
                  <a:pt x="153" y="1372"/>
                </a:lnTo>
                <a:lnTo>
                  <a:pt x="153" y="1378"/>
                </a:lnTo>
                <a:lnTo>
                  <a:pt x="153" y="1383"/>
                </a:lnTo>
                <a:lnTo>
                  <a:pt x="159" y="1383"/>
                </a:lnTo>
                <a:lnTo>
                  <a:pt x="164" y="1383"/>
                </a:lnTo>
                <a:lnTo>
                  <a:pt x="164" y="1378"/>
                </a:lnTo>
                <a:lnTo>
                  <a:pt x="164" y="1372"/>
                </a:lnTo>
                <a:lnTo>
                  <a:pt x="159" y="1372"/>
                </a:lnTo>
                <a:lnTo>
                  <a:pt x="159" y="1366"/>
                </a:lnTo>
                <a:lnTo>
                  <a:pt x="164" y="1366"/>
                </a:lnTo>
                <a:lnTo>
                  <a:pt x="170" y="1366"/>
                </a:lnTo>
                <a:lnTo>
                  <a:pt x="170" y="1372"/>
                </a:lnTo>
                <a:lnTo>
                  <a:pt x="176" y="1372"/>
                </a:lnTo>
                <a:lnTo>
                  <a:pt x="181" y="1372"/>
                </a:lnTo>
                <a:lnTo>
                  <a:pt x="187" y="1372"/>
                </a:lnTo>
                <a:lnTo>
                  <a:pt x="193" y="1372"/>
                </a:lnTo>
                <a:lnTo>
                  <a:pt x="193" y="1366"/>
                </a:lnTo>
                <a:lnTo>
                  <a:pt x="193" y="1372"/>
                </a:lnTo>
                <a:lnTo>
                  <a:pt x="193" y="1366"/>
                </a:lnTo>
                <a:lnTo>
                  <a:pt x="198" y="1366"/>
                </a:lnTo>
                <a:lnTo>
                  <a:pt x="204" y="1366"/>
                </a:lnTo>
                <a:lnTo>
                  <a:pt x="204" y="1361"/>
                </a:lnTo>
                <a:lnTo>
                  <a:pt x="210" y="1366"/>
                </a:lnTo>
                <a:lnTo>
                  <a:pt x="210" y="1361"/>
                </a:lnTo>
                <a:lnTo>
                  <a:pt x="215" y="1361"/>
                </a:lnTo>
                <a:lnTo>
                  <a:pt x="221" y="1355"/>
                </a:lnTo>
                <a:lnTo>
                  <a:pt x="227" y="1355"/>
                </a:lnTo>
                <a:lnTo>
                  <a:pt x="232" y="1355"/>
                </a:lnTo>
                <a:lnTo>
                  <a:pt x="238" y="1349"/>
                </a:lnTo>
                <a:lnTo>
                  <a:pt x="244" y="1349"/>
                </a:lnTo>
                <a:lnTo>
                  <a:pt x="244" y="1355"/>
                </a:lnTo>
                <a:lnTo>
                  <a:pt x="249" y="1355"/>
                </a:lnTo>
                <a:lnTo>
                  <a:pt x="249" y="1361"/>
                </a:lnTo>
                <a:lnTo>
                  <a:pt x="255" y="1361"/>
                </a:lnTo>
                <a:lnTo>
                  <a:pt x="255" y="1355"/>
                </a:lnTo>
                <a:lnTo>
                  <a:pt x="261" y="1355"/>
                </a:lnTo>
                <a:lnTo>
                  <a:pt x="261" y="1349"/>
                </a:lnTo>
                <a:lnTo>
                  <a:pt x="266" y="1349"/>
                </a:lnTo>
                <a:lnTo>
                  <a:pt x="272" y="1344"/>
                </a:lnTo>
                <a:lnTo>
                  <a:pt x="272" y="1338"/>
                </a:lnTo>
                <a:lnTo>
                  <a:pt x="272" y="1332"/>
                </a:lnTo>
                <a:lnTo>
                  <a:pt x="278" y="1332"/>
                </a:lnTo>
                <a:lnTo>
                  <a:pt x="283" y="1332"/>
                </a:lnTo>
                <a:lnTo>
                  <a:pt x="283" y="1326"/>
                </a:lnTo>
                <a:lnTo>
                  <a:pt x="283" y="1321"/>
                </a:lnTo>
                <a:lnTo>
                  <a:pt x="278" y="1315"/>
                </a:lnTo>
                <a:lnTo>
                  <a:pt x="272" y="1309"/>
                </a:lnTo>
                <a:lnTo>
                  <a:pt x="266" y="1309"/>
                </a:lnTo>
                <a:lnTo>
                  <a:pt x="266" y="1304"/>
                </a:lnTo>
                <a:lnTo>
                  <a:pt x="261" y="1304"/>
                </a:lnTo>
                <a:lnTo>
                  <a:pt x="261" y="1298"/>
                </a:lnTo>
                <a:lnTo>
                  <a:pt x="255" y="1298"/>
                </a:lnTo>
                <a:lnTo>
                  <a:pt x="244" y="1298"/>
                </a:lnTo>
                <a:lnTo>
                  <a:pt x="244" y="1292"/>
                </a:lnTo>
                <a:lnTo>
                  <a:pt x="244" y="1287"/>
                </a:lnTo>
                <a:lnTo>
                  <a:pt x="249" y="1287"/>
                </a:lnTo>
                <a:lnTo>
                  <a:pt x="249" y="1281"/>
                </a:lnTo>
                <a:lnTo>
                  <a:pt x="255" y="1281"/>
                </a:lnTo>
                <a:lnTo>
                  <a:pt x="261" y="1281"/>
                </a:lnTo>
                <a:lnTo>
                  <a:pt x="261" y="1275"/>
                </a:lnTo>
                <a:lnTo>
                  <a:pt x="266" y="1275"/>
                </a:lnTo>
                <a:lnTo>
                  <a:pt x="266" y="1270"/>
                </a:lnTo>
                <a:lnTo>
                  <a:pt x="266" y="1264"/>
                </a:lnTo>
                <a:lnTo>
                  <a:pt x="283" y="1264"/>
                </a:lnTo>
                <a:lnTo>
                  <a:pt x="289" y="1264"/>
                </a:lnTo>
                <a:lnTo>
                  <a:pt x="295" y="1258"/>
                </a:lnTo>
                <a:lnTo>
                  <a:pt x="300" y="1247"/>
                </a:lnTo>
                <a:lnTo>
                  <a:pt x="306" y="1241"/>
                </a:lnTo>
                <a:lnTo>
                  <a:pt x="312" y="1241"/>
                </a:lnTo>
                <a:lnTo>
                  <a:pt x="317" y="1241"/>
                </a:lnTo>
                <a:lnTo>
                  <a:pt x="317" y="1236"/>
                </a:lnTo>
                <a:lnTo>
                  <a:pt x="323" y="1236"/>
                </a:lnTo>
                <a:lnTo>
                  <a:pt x="323" y="1230"/>
                </a:lnTo>
                <a:lnTo>
                  <a:pt x="329" y="1224"/>
                </a:lnTo>
                <a:lnTo>
                  <a:pt x="329" y="1219"/>
                </a:lnTo>
                <a:lnTo>
                  <a:pt x="334" y="1219"/>
                </a:lnTo>
                <a:lnTo>
                  <a:pt x="340" y="1219"/>
                </a:lnTo>
                <a:lnTo>
                  <a:pt x="351" y="1219"/>
                </a:lnTo>
                <a:lnTo>
                  <a:pt x="351" y="1213"/>
                </a:lnTo>
                <a:lnTo>
                  <a:pt x="346" y="1207"/>
                </a:lnTo>
                <a:lnTo>
                  <a:pt x="340" y="1202"/>
                </a:lnTo>
                <a:lnTo>
                  <a:pt x="340" y="1196"/>
                </a:lnTo>
                <a:lnTo>
                  <a:pt x="340" y="1190"/>
                </a:lnTo>
                <a:lnTo>
                  <a:pt x="340" y="1185"/>
                </a:lnTo>
                <a:lnTo>
                  <a:pt x="346" y="1185"/>
                </a:lnTo>
                <a:lnTo>
                  <a:pt x="346" y="1179"/>
                </a:lnTo>
                <a:lnTo>
                  <a:pt x="351" y="1173"/>
                </a:lnTo>
                <a:lnTo>
                  <a:pt x="351" y="1168"/>
                </a:lnTo>
                <a:lnTo>
                  <a:pt x="351" y="1162"/>
                </a:lnTo>
                <a:lnTo>
                  <a:pt x="357" y="1156"/>
                </a:lnTo>
                <a:lnTo>
                  <a:pt x="351" y="1156"/>
                </a:lnTo>
                <a:lnTo>
                  <a:pt x="351" y="1151"/>
                </a:lnTo>
                <a:lnTo>
                  <a:pt x="351" y="1145"/>
                </a:lnTo>
                <a:lnTo>
                  <a:pt x="346" y="1145"/>
                </a:lnTo>
                <a:lnTo>
                  <a:pt x="346" y="1139"/>
                </a:lnTo>
                <a:lnTo>
                  <a:pt x="340" y="1134"/>
                </a:lnTo>
                <a:lnTo>
                  <a:pt x="340" y="1122"/>
                </a:lnTo>
                <a:lnTo>
                  <a:pt x="334" y="1122"/>
                </a:lnTo>
                <a:lnTo>
                  <a:pt x="334" y="1117"/>
                </a:lnTo>
                <a:lnTo>
                  <a:pt x="334" y="1111"/>
                </a:lnTo>
                <a:lnTo>
                  <a:pt x="329" y="1117"/>
                </a:lnTo>
                <a:lnTo>
                  <a:pt x="329" y="1122"/>
                </a:lnTo>
                <a:lnTo>
                  <a:pt x="323" y="1128"/>
                </a:lnTo>
                <a:lnTo>
                  <a:pt x="312" y="1122"/>
                </a:lnTo>
                <a:lnTo>
                  <a:pt x="306" y="1122"/>
                </a:lnTo>
                <a:lnTo>
                  <a:pt x="300" y="1122"/>
                </a:lnTo>
                <a:lnTo>
                  <a:pt x="295" y="1122"/>
                </a:lnTo>
                <a:lnTo>
                  <a:pt x="300" y="1117"/>
                </a:lnTo>
                <a:lnTo>
                  <a:pt x="295" y="1117"/>
                </a:lnTo>
                <a:lnTo>
                  <a:pt x="283" y="1117"/>
                </a:lnTo>
                <a:lnTo>
                  <a:pt x="278" y="1117"/>
                </a:lnTo>
                <a:lnTo>
                  <a:pt x="272" y="1111"/>
                </a:lnTo>
                <a:lnTo>
                  <a:pt x="266" y="1105"/>
                </a:lnTo>
                <a:lnTo>
                  <a:pt x="261" y="1105"/>
                </a:lnTo>
                <a:lnTo>
                  <a:pt x="255" y="1100"/>
                </a:lnTo>
                <a:lnTo>
                  <a:pt x="261" y="1094"/>
                </a:lnTo>
                <a:lnTo>
                  <a:pt x="261" y="1088"/>
                </a:lnTo>
                <a:lnTo>
                  <a:pt x="255" y="1077"/>
                </a:lnTo>
                <a:lnTo>
                  <a:pt x="255" y="1071"/>
                </a:lnTo>
                <a:lnTo>
                  <a:pt x="261" y="1077"/>
                </a:lnTo>
                <a:lnTo>
                  <a:pt x="266" y="1077"/>
                </a:lnTo>
                <a:lnTo>
                  <a:pt x="266" y="1071"/>
                </a:lnTo>
                <a:lnTo>
                  <a:pt x="272" y="1071"/>
                </a:lnTo>
                <a:lnTo>
                  <a:pt x="278" y="1071"/>
                </a:lnTo>
                <a:lnTo>
                  <a:pt x="272" y="1066"/>
                </a:lnTo>
                <a:lnTo>
                  <a:pt x="266" y="1060"/>
                </a:lnTo>
                <a:lnTo>
                  <a:pt x="266" y="1054"/>
                </a:lnTo>
                <a:lnTo>
                  <a:pt x="266" y="1049"/>
                </a:lnTo>
                <a:lnTo>
                  <a:pt x="266" y="1043"/>
                </a:lnTo>
                <a:lnTo>
                  <a:pt x="261" y="1043"/>
                </a:lnTo>
                <a:lnTo>
                  <a:pt x="266" y="1037"/>
                </a:lnTo>
                <a:lnTo>
                  <a:pt x="272" y="1037"/>
                </a:lnTo>
                <a:lnTo>
                  <a:pt x="272" y="1032"/>
                </a:lnTo>
                <a:lnTo>
                  <a:pt x="278" y="1032"/>
                </a:lnTo>
                <a:lnTo>
                  <a:pt x="272" y="1032"/>
                </a:lnTo>
                <a:lnTo>
                  <a:pt x="278" y="1032"/>
                </a:lnTo>
                <a:lnTo>
                  <a:pt x="283" y="1032"/>
                </a:lnTo>
                <a:lnTo>
                  <a:pt x="289" y="1032"/>
                </a:lnTo>
                <a:lnTo>
                  <a:pt x="295" y="1032"/>
                </a:lnTo>
                <a:lnTo>
                  <a:pt x="300" y="1032"/>
                </a:lnTo>
                <a:lnTo>
                  <a:pt x="306" y="1032"/>
                </a:lnTo>
                <a:lnTo>
                  <a:pt x="312" y="1032"/>
                </a:lnTo>
                <a:lnTo>
                  <a:pt x="317" y="1037"/>
                </a:lnTo>
                <a:lnTo>
                  <a:pt x="323" y="1037"/>
                </a:lnTo>
                <a:lnTo>
                  <a:pt x="329" y="1037"/>
                </a:lnTo>
                <a:lnTo>
                  <a:pt x="334" y="1037"/>
                </a:lnTo>
                <a:lnTo>
                  <a:pt x="340" y="1037"/>
                </a:lnTo>
                <a:lnTo>
                  <a:pt x="346" y="1043"/>
                </a:lnTo>
                <a:lnTo>
                  <a:pt x="351" y="1043"/>
                </a:lnTo>
                <a:lnTo>
                  <a:pt x="357" y="1037"/>
                </a:lnTo>
                <a:lnTo>
                  <a:pt x="357" y="1032"/>
                </a:lnTo>
                <a:lnTo>
                  <a:pt x="357" y="1020"/>
                </a:lnTo>
                <a:lnTo>
                  <a:pt x="357" y="1003"/>
                </a:lnTo>
                <a:lnTo>
                  <a:pt x="357" y="992"/>
                </a:lnTo>
                <a:lnTo>
                  <a:pt x="363" y="975"/>
                </a:lnTo>
                <a:lnTo>
                  <a:pt x="363" y="964"/>
                </a:lnTo>
                <a:lnTo>
                  <a:pt x="368" y="952"/>
                </a:lnTo>
                <a:lnTo>
                  <a:pt x="368" y="947"/>
                </a:lnTo>
                <a:lnTo>
                  <a:pt x="374" y="941"/>
                </a:lnTo>
                <a:lnTo>
                  <a:pt x="374" y="935"/>
                </a:lnTo>
                <a:lnTo>
                  <a:pt x="385" y="924"/>
                </a:lnTo>
                <a:lnTo>
                  <a:pt x="391" y="913"/>
                </a:lnTo>
                <a:lnTo>
                  <a:pt x="397" y="890"/>
                </a:lnTo>
                <a:lnTo>
                  <a:pt x="402" y="884"/>
                </a:lnTo>
                <a:lnTo>
                  <a:pt x="402" y="879"/>
                </a:lnTo>
                <a:lnTo>
                  <a:pt x="402" y="873"/>
                </a:lnTo>
                <a:lnTo>
                  <a:pt x="402" y="862"/>
                </a:lnTo>
                <a:lnTo>
                  <a:pt x="402" y="856"/>
                </a:lnTo>
                <a:lnTo>
                  <a:pt x="402" y="850"/>
                </a:lnTo>
                <a:lnTo>
                  <a:pt x="402" y="839"/>
                </a:lnTo>
                <a:lnTo>
                  <a:pt x="402" y="833"/>
                </a:lnTo>
                <a:lnTo>
                  <a:pt x="397" y="833"/>
                </a:lnTo>
                <a:lnTo>
                  <a:pt x="397" y="828"/>
                </a:lnTo>
                <a:lnTo>
                  <a:pt x="397" y="822"/>
                </a:lnTo>
                <a:lnTo>
                  <a:pt x="397" y="816"/>
                </a:lnTo>
                <a:lnTo>
                  <a:pt x="402" y="811"/>
                </a:lnTo>
                <a:lnTo>
                  <a:pt x="408" y="805"/>
                </a:lnTo>
                <a:lnTo>
                  <a:pt x="402" y="805"/>
                </a:lnTo>
                <a:lnTo>
                  <a:pt x="402" y="799"/>
                </a:lnTo>
                <a:lnTo>
                  <a:pt x="408" y="799"/>
                </a:lnTo>
                <a:lnTo>
                  <a:pt x="408" y="794"/>
                </a:lnTo>
                <a:lnTo>
                  <a:pt x="408" y="788"/>
                </a:lnTo>
                <a:lnTo>
                  <a:pt x="408" y="782"/>
                </a:lnTo>
                <a:lnTo>
                  <a:pt x="408" y="777"/>
                </a:lnTo>
                <a:lnTo>
                  <a:pt x="408" y="771"/>
                </a:lnTo>
                <a:lnTo>
                  <a:pt x="414" y="765"/>
                </a:lnTo>
                <a:lnTo>
                  <a:pt x="414" y="760"/>
                </a:lnTo>
                <a:lnTo>
                  <a:pt x="414" y="754"/>
                </a:lnTo>
                <a:lnTo>
                  <a:pt x="414" y="748"/>
                </a:lnTo>
                <a:lnTo>
                  <a:pt x="419" y="748"/>
                </a:lnTo>
                <a:lnTo>
                  <a:pt x="425" y="748"/>
                </a:lnTo>
                <a:lnTo>
                  <a:pt x="431" y="748"/>
                </a:lnTo>
                <a:lnTo>
                  <a:pt x="436" y="748"/>
                </a:lnTo>
                <a:lnTo>
                  <a:pt x="442" y="748"/>
                </a:lnTo>
                <a:lnTo>
                  <a:pt x="442" y="754"/>
                </a:lnTo>
                <a:lnTo>
                  <a:pt x="442" y="760"/>
                </a:lnTo>
                <a:lnTo>
                  <a:pt x="448" y="760"/>
                </a:lnTo>
                <a:lnTo>
                  <a:pt x="453" y="760"/>
                </a:lnTo>
                <a:lnTo>
                  <a:pt x="453" y="765"/>
                </a:lnTo>
                <a:lnTo>
                  <a:pt x="453" y="771"/>
                </a:lnTo>
                <a:lnTo>
                  <a:pt x="453" y="777"/>
                </a:lnTo>
                <a:lnTo>
                  <a:pt x="453" y="782"/>
                </a:lnTo>
                <a:lnTo>
                  <a:pt x="453" y="788"/>
                </a:lnTo>
                <a:lnTo>
                  <a:pt x="459" y="788"/>
                </a:lnTo>
                <a:lnTo>
                  <a:pt x="459" y="782"/>
                </a:lnTo>
                <a:lnTo>
                  <a:pt x="453" y="782"/>
                </a:lnTo>
                <a:lnTo>
                  <a:pt x="453" y="777"/>
                </a:lnTo>
                <a:lnTo>
                  <a:pt x="453" y="771"/>
                </a:lnTo>
                <a:lnTo>
                  <a:pt x="453" y="765"/>
                </a:lnTo>
                <a:lnTo>
                  <a:pt x="453" y="760"/>
                </a:lnTo>
                <a:lnTo>
                  <a:pt x="453" y="754"/>
                </a:lnTo>
                <a:lnTo>
                  <a:pt x="448" y="754"/>
                </a:lnTo>
                <a:lnTo>
                  <a:pt x="442" y="754"/>
                </a:lnTo>
                <a:lnTo>
                  <a:pt x="448" y="754"/>
                </a:lnTo>
                <a:lnTo>
                  <a:pt x="442" y="754"/>
                </a:lnTo>
                <a:lnTo>
                  <a:pt x="442" y="748"/>
                </a:lnTo>
                <a:lnTo>
                  <a:pt x="436" y="748"/>
                </a:lnTo>
                <a:lnTo>
                  <a:pt x="436" y="743"/>
                </a:lnTo>
                <a:lnTo>
                  <a:pt x="436" y="748"/>
                </a:lnTo>
                <a:lnTo>
                  <a:pt x="431" y="748"/>
                </a:lnTo>
                <a:lnTo>
                  <a:pt x="431" y="743"/>
                </a:lnTo>
                <a:lnTo>
                  <a:pt x="425" y="743"/>
                </a:lnTo>
                <a:lnTo>
                  <a:pt x="419" y="743"/>
                </a:lnTo>
                <a:lnTo>
                  <a:pt x="414" y="743"/>
                </a:lnTo>
                <a:lnTo>
                  <a:pt x="408" y="743"/>
                </a:lnTo>
                <a:lnTo>
                  <a:pt x="408" y="737"/>
                </a:lnTo>
                <a:lnTo>
                  <a:pt x="402" y="737"/>
                </a:lnTo>
                <a:lnTo>
                  <a:pt x="397" y="737"/>
                </a:lnTo>
                <a:lnTo>
                  <a:pt x="385" y="737"/>
                </a:lnTo>
                <a:lnTo>
                  <a:pt x="368" y="737"/>
                </a:lnTo>
                <a:lnTo>
                  <a:pt x="363" y="737"/>
                </a:lnTo>
                <a:lnTo>
                  <a:pt x="357" y="737"/>
                </a:lnTo>
                <a:lnTo>
                  <a:pt x="357" y="731"/>
                </a:lnTo>
                <a:lnTo>
                  <a:pt x="351" y="731"/>
                </a:lnTo>
                <a:lnTo>
                  <a:pt x="351" y="726"/>
                </a:lnTo>
                <a:lnTo>
                  <a:pt x="357" y="720"/>
                </a:lnTo>
                <a:lnTo>
                  <a:pt x="357" y="714"/>
                </a:lnTo>
                <a:lnTo>
                  <a:pt x="357" y="709"/>
                </a:lnTo>
                <a:lnTo>
                  <a:pt x="357" y="703"/>
                </a:lnTo>
                <a:lnTo>
                  <a:pt x="357" y="697"/>
                </a:lnTo>
                <a:lnTo>
                  <a:pt x="357" y="692"/>
                </a:lnTo>
                <a:lnTo>
                  <a:pt x="363" y="675"/>
                </a:lnTo>
                <a:lnTo>
                  <a:pt x="363" y="669"/>
                </a:lnTo>
                <a:lnTo>
                  <a:pt x="368" y="669"/>
                </a:lnTo>
                <a:lnTo>
                  <a:pt x="368" y="663"/>
                </a:lnTo>
                <a:lnTo>
                  <a:pt x="368" y="658"/>
                </a:lnTo>
                <a:lnTo>
                  <a:pt x="374" y="658"/>
                </a:lnTo>
                <a:lnTo>
                  <a:pt x="374" y="652"/>
                </a:lnTo>
                <a:lnTo>
                  <a:pt x="374" y="658"/>
                </a:lnTo>
                <a:lnTo>
                  <a:pt x="380" y="658"/>
                </a:lnTo>
                <a:lnTo>
                  <a:pt x="380" y="663"/>
                </a:lnTo>
                <a:lnTo>
                  <a:pt x="385" y="663"/>
                </a:lnTo>
                <a:lnTo>
                  <a:pt x="380" y="663"/>
                </a:lnTo>
                <a:lnTo>
                  <a:pt x="380" y="658"/>
                </a:lnTo>
                <a:lnTo>
                  <a:pt x="385" y="658"/>
                </a:lnTo>
                <a:lnTo>
                  <a:pt x="391" y="652"/>
                </a:lnTo>
                <a:lnTo>
                  <a:pt x="391" y="646"/>
                </a:lnTo>
                <a:lnTo>
                  <a:pt x="385" y="646"/>
                </a:lnTo>
                <a:lnTo>
                  <a:pt x="385" y="641"/>
                </a:lnTo>
                <a:lnTo>
                  <a:pt x="380" y="641"/>
                </a:lnTo>
                <a:lnTo>
                  <a:pt x="380" y="635"/>
                </a:lnTo>
                <a:lnTo>
                  <a:pt x="380" y="629"/>
                </a:lnTo>
                <a:lnTo>
                  <a:pt x="385" y="624"/>
                </a:lnTo>
                <a:lnTo>
                  <a:pt x="391" y="624"/>
                </a:lnTo>
                <a:lnTo>
                  <a:pt x="391" y="618"/>
                </a:lnTo>
                <a:lnTo>
                  <a:pt x="397" y="618"/>
                </a:lnTo>
                <a:lnTo>
                  <a:pt x="397" y="612"/>
                </a:lnTo>
                <a:lnTo>
                  <a:pt x="402" y="612"/>
                </a:lnTo>
                <a:lnTo>
                  <a:pt x="402" y="606"/>
                </a:lnTo>
                <a:lnTo>
                  <a:pt x="408" y="606"/>
                </a:lnTo>
                <a:lnTo>
                  <a:pt x="408" y="601"/>
                </a:lnTo>
                <a:lnTo>
                  <a:pt x="414" y="601"/>
                </a:lnTo>
                <a:lnTo>
                  <a:pt x="414" y="595"/>
                </a:lnTo>
                <a:lnTo>
                  <a:pt x="419" y="595"/>
                </a:lnTo>
                <a:lnTo>
                  <a:pt x="425" y="595"/>
                </a:lnTo>
                <a:lnTo>
                  <a:pt x="431" y="595"/>
                </a:lnTo>
                <a:lnTo>
                  <a:pt x="431" y="589"/>
                </a:lnTo>
                <a:lnTo>
                  <a:pt x="436" y="589"/>
                </a:lnTo>
                <a:lnTo>
                  <a:pt x="442" y="589"/>
                </a:lnTo>
                <a:lnTo>
                  <a:pt x="448" y="589"/>
                </a:lnTo>
                <a:lnTo>
                  <a:pt x="453" y="589"/>
                </a:lnTo>
                <a:lnTo>
                  <a:pt x="459" y="589"/>
                </a:lnTo>
                <a:lnTo>
                  <a:pt x="465" y="589"/>
                </a:lnTo>
                <a:lnTo>
                  <a:pt x="470" y="589"/>
                </a:lnTo>
                <a:lnTo>
                  <a:pt x="476" y="589"/>
                </a:lnTo>
                <a:lnTo>
                  <a:pt x="482" y="589"/>
                </a:lnTo>
                <a:lnTo>
                  <a:pt x="487" y="589"/>
                </a:lnTo>
                <a:lnTo>
                  <a:pt x="487" y="595"/>
                </a:lnTo>
                <a:lnTo>
                  <a:pt x="493" y="595"/>
                </a:lnTo>
                <a:lnTo>
                  <a:pt x="499" y="595"/>
                </a:lnTo>
                <a:lnTo>
                  <a:pt x="504" y="595"/>
                </a:lnTo>
                <a:lnTo>
                  <a:pt x="504" y="589"/>
                </a:lnTo>
                <a:lnTo>
                  <a:pt x="510" y="589"/>
                </a:lnTo>
                <a:lnTo>
                  <a:pt x="510" y="595"/>
                </a:lnTo>
                <a:lnTo>
                  <a:pt x="510" y="589"/>
                </a:lnTo>
                <a:lnTo>
                  <a:pt x="516" y="589"/>
                </a:lnTo>
                <a:lnTo>
                  <a:pt x="521" y="589"/>
                </a:lnTo>
                <a:lnTo>
                  <a:pt x="527" y="589"/>
                </a:lnTo>
                <a:lnTo>
                  <a:pt x="527" y="584"/>
                </a:lnTo>
                <a:lnTo>
                  <a:pt x="533" y="584"/>
                </a:lnTo>
                <a:lnTo>
                  <a:pt x="538" y="584"/>
                </a:lnTo>
                <a:lnTo>
                  <a:pt x="544" y="584"/>
                </a:lnTo>
                <a:lnTo>
                  <a:pt x="550" y="584"/>
                </a:lnTo>
                <a:lnTo>
                  <a:pt x="555" y="584"/>
                </a:lnTo>
                <a:lnTo>
                  <a:pt x="561" y="584"/>
                </a:lnTo>
                <a:lnTo>
                  <a:pt x="567" y="578"/>
                </a:lnTo>
                <a:lnTo>
                  <a:pt x="573" y="578"/>
                </a:lnTo>
                <a:lnTo>
                  <a:pt x="578" y="578"/>
                </a:lnTo>
                <a:lnTo>
                  <a:pt x="584" y="578"/>
                </a:lnTo>
                <a:lnTo>
                  <a:pt x="590" y="578"/>
                </a:lnTo>
                <a:lnTo>
                  <a:pt x="595" y="578"/>
                </a:lnTo>
                <a:lnTo>
                  <a:pt x="601" y="578"/>
                </a:lnTo>
                <a:lnTo>
                  <a:pt x="607" y="578"/>
                </a:lnTo>
                <a:lnTo>
                  <a:pt x="612" y="578"/>
                </a:lnTo>
                <a:lnTo>
                  <a:pt x="612" y="584"/>
                </a:lnTo>
                <a:lnTo>
                  <a:pt x="618" y="584"/>
                </a:lnTo>
                <a:lnTo>
                  <a:pt x="624" y="584"/>
                </a:lnTo>
                <a:lnTo>
                  <a:pt x="624" y="589"/>
                </a:lnTo>
                <a:lnTo>
                  <a:pt x="624" y="595"/>
                </a:lnTo>
                <a:lnTo>
                  <a:pt x="624" y="601"/>
                </a:lnTo>
                <a:lnTo>
                  <a:pt x="624" y="606"/>
                </a:lnTo>
                <a:lnTo>
                  <a:pt x="624" y="612"/>
                </a:lnTo>
                <a:lnTo>
                  <a:pt x="629" y="612"/>
                </a:lnTo>
                <a:lnTo>
                  <a:pt x="635" y="612"/>
                </a:lnTo>
                <a:lnTo>
                  <a:pt x="641" y="612"/>
                </a:lnTo>
                <a:lnTo>
                  <a:pt x="641" y="618"/>
                </a:lnTo>
                <a:lnTo>
                  <a:pt x="641" y="624"/>
                </a:lnTo>
                <a:lnTo>
                  <a:pt x="646" y="624"/>
                </a:lnTo>
                <a:lnTo>
                  <a:pt x="646" y="629"/>
                </a:lnTo>
                <a:lnTo>
                  <a:pt x="646" y="635"/>
                </a:lnTo>
                <a:lnTo>
                  <a:pt x="652" y="635"/>
                </a:lnTo>
                <a:lnTo>
                  <a:pt x="652" y="641"/>
                </a:lnTo>
                <a:lnTo>
                  <a:pt x="652" y="646"/>
                </a:lnTo>
                <a:lnTo>
                  <a:pt x="658" y="646"/>
                </a:lnTo>
                <a:lnTo>
                  <a:pt x="658" y="652"/>
                </a:lnTo>
                <a:lnTo>
                  <a:pt x="658" y="658"/>
                </a:lnTo>
                <a:lnTo>
                  <a:pt x="658" y="663"/>
                </a:lnTo>
                <a:lnTo>
                  <a:pt x="658" y="658"/>
                </a:lnTo>
                <a:lnTo>
                  <a:pt x="658" y="663"/>
                </a:lnTo>
                <a:lnTo>
                  <a:pt x="658" y="669"/>
                </a:lnTo>
                <a:lnTo>
                  <a:pt x="652" y="669"/>
                </a:lnTo>
                <a:lnTo>
                  <a:pt x="646" y="669"/>
                </a:lnTo>
                <a:lnTo>
                  <a:pt x="641" y="675"/>
                </a:lnTo>
                <a:lnTo>
                  <a:pt x="635" y="675"/>
                </a:lnTo>
                <a:lnTo>
                  <a:pt x="629" y="675"/>
                </a:lnTo>
                <a:lnTo>
                  <a:pt x="629" y="669"/>
                </a:lnTo>
                <a:lnTo>
                  <a:pt x="629" y="675"/>
                </a:lnTo>
                <a:lnTo>
                  <a:pt x="629" y="680"/>
                </a:lnTo>
                <a:lnTo>
                  <a:pt x="629" y="686"/>
                </a:lnTo>
                <a:lnTo>
                  <a:pt x="629" y="692"/>
                </a:lnTo>
                <a:lnTo>
                  <a:pt x="635" y="692"/>
                </a:lnTo>
                <a:lnTo>
                  <a:pt x="641" y="697"/>
                </a:lnTo>
                <a:lnTo>
                  <a:pt x="646" y="697"/>
                </a:lnTo>
                <a:lnTo>
                  <a:pt x="652" y="697"/>
                </a:lnTo>
                <a:lnTo>
                  <a:pt x="658" y="703"/>
                </a:lnTo>
                <a:lnTo>
                  <a:pt x="663" y="709"/>
                </a:lnTo>
                <a:lnTo>
                  <a:pt x="663" y="714"/>
                </a:lnTo>
                <a:lnTo>
                  <a:pt x="663" y="720"/>
                </a:lnTo>
                <a:lnTo>
                  <a:pt x="669" y="720"/>
                </a:lnTo>
                <a:lnTo>
                  <a:pt x="675" y="720"/>
                </a:lnTo>
                <a:lnTo>
                  <a:pt x="680" y="720"/>
                </a:lnTo>
                <a:lnTo>
                  <a:pt x="680" y="714"/>
                </a:lnTo>
                <a:lnTo>
                  <a:pt x="686" y="714"/>
                </a:lnTo>
                <a:lnTo>
                  <a:pt x="686" y="709"/>
                </a:lnTo>
                <a:lnTo>
                  <a:pt x="692" y="709"/>
                </a:lnTo>
                <a:lnTo>
                  <a:pt x="692" y="703"/>
                </a:lnTo>
                <a:lnTo>
                  <a:pt x="692" y="697"/>
                </a:lnTo>
                <a:lnTo>
                  <a:pt x="697" y="697"/>
                </a:lnTo>
                <a:lnTo>
                  <a:pt x="697" y="692"/>
                </a:lnTo>
                <a:lnTo>
                  <a:pt x="697" y="680"/>
                </a:lnTo>
                <a:lnTo>
                  <a:pt x="697" y="675"/>
                </a:lnTo>
                <a:lnTo>
                  <a:pt x="697" y="669"/>
                </a:lnTo>
                <a:lnTo>
                  <a:pt x="692" y="663"/>
                </a:lnTo>
                <a:lnTo>
                  <a:pt x="692" y="669"/>
                </a:lnTo>
                <a:lnTo>
                  <a:pt x="686" y="669"/>
                </a:lnTo>
                <a:lnTo>
                  <a:pt x="680" y="669"/>
                </a:lnTo>
                <a:lnTo>
                  <a:pt x="675" y="669"/>
                </a:lnTo>
                <a:lnTo>
                  <a:pt x="675" y="663"/>
                </a:lnTo>
                <a:lnTo>
                  <a:pt x="675" y="658"/>
                </a:lnTo>
                <a:lnTo>
                  <a:pt x="675" y="652"/>
                </a:lnTo>
                <a:lnTo>
                  <a:pt x="680" y="641"/>
                </a:lnTo>
                <a:lnTo>
                  <a:pt x="675" y="641"/>
                </a:lnTo>
                <a:lnTo>
                  <a:pt x="680" y="641"/>
                </a:lnTo>
                <a:lnTo>
                  <a:pt x="680" y="635"/>
                </a:lnTo>
                <a:lnTo>
                  <a:pt x="686" y="635"/>
                </a:lnTo>
                <a:lnTo>
                  <a:pt x="686" y="629"/>
                </a:lnTo>
                <a:lnTo>
                  <a:pt x="692" y="629"/>
                </a:lnTo>
                <a:lnTo>
                  <a:pt x="692" y="624"/>
                </a:lnTo>
                <a:lnTo>
                  <a:pt x="697" y="624"/>
                </a:lnTo>
                <a:lnTo>
                  <a:pt x="703" y="629"/>
                </a:lnTo>
                <a:lnTo>
                  <a:pt x="709" y="629"/>
                </a:lnTo>
                <a:lnTo>
                  <a:pt x="709" y="635"/>
                </a:lnTo>
                <a:lnTo>
                  <a:pt x="709" y="641"/>
                </a:lnTo>
                <a:lnTo>
                  <a:pt x="714" y="641"/>
                </a:lnTo>
                <a:lnTo>
                  <a:pt x="714" y="646"/>
                </a:lnTo>
                <a:lnTo>
                  <a:pt x="720" y="646"/>
                </a:lnTo>
                <a:lnTo>
                  <a:pt x="726" y="646"/>
                </a:lnTo>
                <a:lnTo>
                  <a:pt x="726" y="652"/>
                </a:lnTo>
                <a:lnTo>
                  <a:pt x="731" y="652"/>
                </a:lnTo>
                <a:lnTo>
                  <a:pt x="737" y="652"/>
                </a:lnTo>
                <a:lnTo>
                  <a:pt x="743" y="652"/>
                </a:lnTo>
                <a:lnTo>
                  <a:pt x="743" y="658"/>
                </a:lnTo>
                <a:lnTo>
                  <a:pt x="743" y="652"/>
                </a:lnTo>
                <a:lnTo>
                  <a:pt x="743" y="658"/>
                </a:lnTo>
                <a:lnTo>
                  <a:pt x="748" y="658"/>
                </a:lnTo>
                <a:lnTo>
                  <a:pt x="748" y="652"/>
                </a:lnTo>
                <a:lnTo>
                  <a:pt x="748" y="658"/>
                </a:lnTo>
                <a:lnTo>
                  <a:pt x="754" y="658"/>
                </a:lnTo>
                <a:lnTo>
                  <a:pt x="754" y="663"/>
                </a:lnTo>
                <a:lnTo>
                  <a:pt x="760" y="663"/>
                </a:lnTo>
                <a:lnTo>
                  <a:pt x="760" y="669"/>
                </a:lnTo>
                <a:lnTo>
                  <a:pt x="754" y="669"/>
                </a:lnTo>
                <a:lnTo>
                  <a:pt x="748" y="669"/>
                </a:lnTo>
                <a:lnTo>
                  <a:pt x="748" y="675"/>
                </a:lnTo>
                <a:lnTo>
                  <a:pt x="743" y="675"/>
                </a:lnTo>
                <a:lnTo>
                  <a:pt x="743" y="680"/>
                </a:lnTo>
                <a:lnTo>
                  <a:pt x="743" y="686"/>
                </a:lnTo>
                <a:lnTo>
                  <a:pt x="737" y="686"/>
                </a:lnTo>
                <a:lnTo>
                  <a:pt x="737" y="692"/>
                </a:lnTo>
                <a:lnTo>
                  <a:pt x="737" y="697"/>
                </a:lnTo>
                <a:lnTo>
                  <a:pt x="737" y="703"/>
                </a:lnTo>
                <a:lnTo>
                  <a:pt x="737" y="709"/>
                </a:lnTo>
                <a:lnTo>
                  <a:pt x="737" y="714"/>
                </a:lnTo>
                <a:lnTo>
                  <a:pt x="737" y="726"/>
                </a:lnTo>
                <a:lnTo>
                  <a:pt x="743" y="726"/>
                </a:lnTo>
                <a:lnTo>
                  <a:pt x="743" y="731"/>
                </a:lnTo>
                <a:lnTo>
                  <a:pt x="743" y="737"/>
                </a:lnTo>
                <a:lnTo>
                  <a:pt x="743" y="743"/>
                </a:lnTo>
                <a:lnTo>
                  <a:pt x="743" y="748"/>
                </a:lnTo>
                <a:lnTo>
                  <a:pt x="743" y="743"/>
                </a:lnTo>
                <a:lnTo>
                  <a:pt x="748" y="743"/>
                </a:lnTo>
                <a:lnTo>
                  <a:pt x="748" y="737"/>
                </a:lnTo>
                <a:lnTo>
                  <a:pt x="743" y="737"/>
                </a:lnTo>
                <a:lnTo>
                  <a:pt x="743" y="731"/>
                </a:lnTo>
                <a:lnTo>
                  <a:pt x="743" y="726"/>
                </a:lnTo>
                <a:lnTo>
                  <a:pt x="743" y="720"/>
                </a:lnTo>
                <a:lnTo>
                  <a:pt x="743" y="714"/>
                </a:lnTo>
                <a:lnTo>
                  <a:pt x="743" y="709"/>
                </a:lnTo>
                <a:lnTo>
                  <a:pt x="743" y="703"/>
                </a:lnTo>
                <a:lnTo>
                  <a:pt x="743" y="697"/>
                </a:lnTo>
                <a:lnTo>
                  <a:pt x="743" y="692"/>
                </a:lnTo>
                <a:lnTo>
                  <a:pt x="743" y="686"/>
                </a:lnTo>
                <a:lnTo>
                  <a:pt x="748" y="686"/>
                </a:lnTo>
                <a:lnTo>
                  <a:pt x="748" y="680"/>
                </a:lnTo>
                <a:lnTo>
                  <a:pt x="748" y="675"/>
                </a:lnTo>
                <a:lnTo>
                  <a:pt x="754" y="675"/>
                </a:lnTo>
                <a:lnTo>
                  <a:pt x="760" y="675"/>
                </a:lnTo>
                <a:lnTo>
                  <a:pt x="760" y="669"/>
                </a:lnTo>
                <a:lnTo>
                  <a:pt x="765" y="669"/>
                </a:lnTo>
                <a:lnTo>
                  <a:pt x="765" y="663"/>
                </a:lnTo>
                <a:lnTo>
                  <a:pt x="765" y="658"/>
                </a:lnTo>
                <a:lnTo>
                  <a:pt x="760" y="658"/>
                </a:lnTo>
                <a:lnTo>
                  <a:pt x="760" y="652"/>
                </a:lnTo>
                <a:lnTo>
                  <a:pt x="754" y="646"/>
                </a:lnTo>
                <a:lnTo>
                  <a:pt x="754" y="641"/>
                </a:lnTo>
                <a:lnTo>
                  <a:pt x="754" y="635"/>
                </a:lnTo>
                <a:lnTo>
                  <a:pt x="754" y="641"/>
                </a:lnTo>
                <a:lnTo>
                  <a:pt x="748" y="641"/>
                </a:lnTo>
                <a:lnTo>
                  <a:pt x="748" y="635"/>
                </a:lnTo>
                <a:lnTo>
                  <a:pt x="754" y="635"/>
                </a:lnTo>
                <a:lnTo>
                  <a:pt x="748" y="635"/>
                </a:lnTo>
                <a:lnTo>
                  <a:pt x="748" y="629"/>
                </a:lnTo>
                <a:lnTo>
                  <a:pt x="748" y="624"/>
                </a:lnTo>
                <a:lnTo>
                  <a:pt x="748" y="618"/>
                </a:lnTo>
                <a:lnTo>
                  <a:pt x="743" y="618"/>
                </a:lnTo>
                <a:lnTo>
                  <a:pt x="743" y="612"/>
                </a:lnTo>
                <a:lnTo>
                  <a:pt x="743" y="606"/>
                </a:lnTo>
                <a:lnTo>
                  <a:pt x="743" y="601"/>
                </a:lnTo>
                <a:lnTo>
                  <a:pt x="743" y="595"/>
                </a:lnTo>
                <a:lnTo>
                  <a:pt x="743" y="589"/>
                </a:lnTo>
                <a:lnTo>
                  <a:pt x="743" y="584"/>
                </a:lnTo>
                <a:lnTo>
                  <a:pt x="748" y="584"/>
                </a:lnTo>
                <a:lnTo>
                  <a:pt x="748" y="578"/>
                </a:lnTo>
                <a:lnTo>
                  <a:pt x="748" y="572"/>
                </a:lnTo>
                <a:lnTo>
                  <a:pt x="754" y="572"/>
                </a:lnTo>
                <a:lnTo>
                  <a:pt x="754" y="567"/>
                </a:lnTo>
                <a:lnTo>
                  <a:pt x="748" y="567"/>
                </a:lnTo>
                <a:lnTo>
                  <a:pt x="754" y="567"/>
                </a:lnTo>
                <a:lnTo>
                  <a:pt x="754" y="561"/>
                </a:lnTo>
                <a:lnTo>
                  <a:pt x="754" y="555"/>
                </a:lnTo>
                <a:lnTo>
                  <a:pt x="754" y="550"/>
                </a:lnTo>
                <a:lnTo>
                  <a:pt x="760" y="555"/>
                </a:lnTo>
                <a:lnTo>
                  <a:pt x="760" y="550"/>
                </a:lnTo>
                <a:lnTo>
                  <a:pt x="754" y="550"/>
                </a:lnTo>
                <a:lnTo>
                  <a:pt x="760" y="544"/>
                </a:lnTo>
                <a:lnTo>
                  <a:pt x="760" y="538"/>
                </a:lnTo>
                <a:lnTo>
                  <a:pt x="760" y="533"/>
                </a:lnTo>
                <a:lnTo>
                  <a:pt x="765" y="527"/>
                </a:lnTo>
                <a:lnTo>
                  <a:pt x="765" y="521"/>
                </a:lnTo>
                <a:lnTo>
                  <a:pt x="771" y="521"/>
                </a:lnTo>
                <a:lnTo>
                  <a:pt x="771" y="516"/>
                </a:lnTo>
                <a:lnTo>
                  <a:pt x="777" y="516"/>
                </a:lnTo>
                <a:lnTo>
                  <a:pt x="782" y="510"/>
                </a:lnTo>
                <a:lnTo>
                  <a:pt x="788" y="510"/>
                </a:lnTo>
                <a:lnTo>
                  <a:pt x="794" y="510"/>
                </a:lnTo>
                <a:lnTo>
                  <a:pt x="794" y="516"/>
                </a:lnTo>
                <a:lnTo>
                  <a:pt x="799" y="516"/>
                </a:lnTo>
                <a:lnTo>
                  <a:pt x="805" y="516"/>
                </a:lnTo>
                <a:lnTo>
                  <a:pt x="805" y="521"/>
                </a:lnTo>
                <a:lnTo>
                  <a:pt x="811" y="527"/>
                </a:lnTo>
                <a:lnTo>
                  <a:pt x="816" y="533"/>
                </a:lnTo>
                <a:lnTo>
                  <a:pt x="822" y="533"/>
                </a:lnTo>
                <a:lnTo>
                  <a:pt x="828" y="533"/>
                </a:lnTo>
                <a:lnTo>
                  <a:pt x="833" y="533"/>
                </a:lnTo>
                <a:lnTo>
                  <a:pt x="839" y="533"/>
                </a:lnTo>
                <a:lnTo>
                  <a:pt x="845" y="533"/>
                </a:lnTo>
                <a:lnTo>
                  <a:pt x="845" y="538"/>
                </a:lnTo>
                <a:lnTo>
                  <a:pt x="850" y="538"/>
                </a:lnTo>
                <a:lnTo>
                  <a:pt x="850" y="533"/>
                </a:lnTo>
                <a:lnTo>
                  <a:pt x="850" y="538"/>
                </a:lnTo>
                <a:lnTo>
                  <a:pt x="850" y="533"/>
                </a:lnTo>
                <a:lnTo>
                  <a:pt x="856" y="533"/>
                </a:lnTo>
                <a:lnTo>
                  <a:pt x="862" y="533"/>
                </a:lnTo>
                <a:lnTo>
                  <a:pt x="867" y="533"/>
                </a:lnTo>
                <a:lnTo>
                  <a:pt x="873" y="533"/>
                </a:lnTo>
                <a:lnTo>
                  <a:pt x="879" y="533"/>
                </a:lnTo>
                <a:lnTo>
                  <a:pt x="884" y="533"/>
                </a:lnTo>
                <a:lnTo>
                  <a:pt x="884" y="538"/>
                </a:lnTo>
                <a:lnTo>
                  <a:pt x="884" y="533"/>
                </a:lnTo>
                <a:lnTo>
                  <a:pt x="879" y="533"/>
                </a:lnTo>
                <a:lnTo>
                  <a:pt x="884" y="533"/>
                </a:lnTo>
                <a:lnTo>
                  <a:pt x="884" y="527"/>
                </a:lnTo>
                <a:lnTo>
                  <a:pt x="890" y="527"/>
                </a:lnTo>
                <a:lnTo>
                  <a:pt x="896" y="527"/>
                </a:lnTo>
                <a:lnTo>
                  <a:pt x="896" y="521"/>
                </a:lnTo>
                <a:lnTo>
                  <a:pt x="901" y="521"/>
                </a:lnTo>
                <a:lnTo>
                  <a:pt x="907" y="521"/>
                </a:lnTo>
                <a:lnTo>
                  <a:pt x="913" y="521"/>
                </a:lnTo>
                <a:lnTo>
                  <a:pt x="918" y="521"/>
                </a:lnTo>
                <a:lnTo>
                  <a:pt x="924" y="521"/>
                </a:lnTo>
                <a:lnTo>
                  <a:pt x="930" y="521"/>
                </a:lnTo>
                <a:lnTo>
                  <a:pt x="935" y="521"/>
                </a:lnTo>
                <a:lnTo>
                  <a:pt x="941" y="521"/>
                </a:lnTo>
                <a:lnTo>
                  <a:pt x="947" y="521"/>
                </a:lnTo>
                <a:lnTo>
                  <a:pt x="947" y="527"/>
                </a:lnTo>
                <a:lnTo>
                  <a:pt x="952" y="527"/>
                </a:lnTo>
                <a:lnTo>
                  <a:pt x="952" y="533"/>
                </a:lnTo>
                <a:lnTo>
                  <a:pt x="958" y="533"/>
                </a:lnTo>
                <a:lnTo>
                  <a:pt x="958" y="538"/>
                </a:lnTo>
                <a:lnTo>
                  <a:pt x="958" y="544"/>
                </a:lnTo>
                <a:lnTo>
                  <a:pt x="964" y="544"/>
                </a:lnTo>
                <a:lnTo>
                  <a:pt x="964" y="550"/>
                </a:lnTo>
                <a:lnTo>
                  <a:pt x="964" y="555"/>
                </a:lnTo>
                <a:lnTo>
                  <a:pt x="969" y="555"/>
                </a:lnTo>
                <a:lnTo>
                  <a:pt x="969" y="561"/>
                </a:lnTo>
                <a:lnTo>
                  <a:pt x="969" y="567"/>
                </a:lnTo>
                <a:lnTo>
                  <a:pt x="975" y="567"/>
                </a:lnTo>
                <a:lnTo>
                  <a:pt x="975" y="572"/>
                </a:lnTo>
                <a:lnTo>
                  <a:pt x="975" y="578"/>
                </a:lnTo>
                <a:lnTo>
                  <a:pt x="981" y="578"/>
                </a:lnTo>
                <a:lnTo>
                  <a:pt x="981" y="584"/>
                </a:lnTo>
                <a:lnTo>
                  <a:pt x="986" y="584"/>
                </a:lnTo>
                <a:lnTo>
                  <a:pt x="986" y="589"/>
                </a:lnTo>
                <a:lnTo>
                  <a:pt x="992" y="589"/>
                </a:lnTo>
                <a:lnTo>
                  <a:pt x="992" y="595"/>
                </a:lnTo>
                <a:lnTo>
                  <a:pt x="998" y="595"/>
                </a:lnTo>
                <a:lnTo>
                  <a:pt x="998" y="601"/>
                </a:lnTo>
                <a:lnTo>
                  <a:pt x="1003" y="601"/>
                </a:lnTo>
                <a:lnTo>
                  <a:pt x="1003" y="606"/>
                </a:lnTo>
                <a:lnTo>
                  <a:pt x="1003" y="612"/>
                </a:lnTo>
                <a:lnTo>
                  <a:pt x="1003" y="618"/>
                </a:lnTo>
                <a:lnTo>
                  <a:pt x="1009" y="618"/>
                </a:lnTo>
                <a:lnTo>
                  <a:pt x="1009" y="624"/>
                </a:lnTo>
                <a:lnTo>
                  <a:pt x="1009" y="629"/>
                </a:lnTo>
                <a:lnTo>
                  <a:pt x="1015" y="629"/>
                </a:lnTo>
                <a:lnTo>
                  <a:pt x="1015" y="635"/>
                </a:lnTo>
                <a:lnTo>
                  <a:pt x="1020" y="635"/>
                </a:lnTo>
                <a:lnTo>
                  <a:pt x="1020" y="641"/>
                </a:lnTo>
                <a:lnTo>
                  <a:pt x="1026" y="641"/>
                </a:lnTo>
                <a:lnTo>
                  <a:pt x="1026" y="646"/>
                </a:lnTo>
                <a:lnTo>
                  <a:pt x="1032" y="646"/>
                </a:lnTo>
                <a:lnTo>
                  <a:pt x="1037" y="652"/>
                </a:lnTo>
                <a:lnTo>
                  <a:pt x="1043" y="652"/>
                </a:lnTo>
                <a:lnTo>
                  <a:pt x="1043" y="658"/>
                </a:lnTo>
                <a:lnTo>
                  <a:pt x="1049" y="658"/>
                </a:lnTo>
                <a:lnTo>
                  <a:pt x="1049" y="663"/>
                </a:lnTo>
                <a:lnTo>
                  <a:pt x="1054" y="658"/>
                </a:lnTo>
                <a:lnTo>
                  <a:pt x="1060" y="658"/>
                </a:lnTo>
                <a:lnTo>
                  <a:pt x="1066" y="658"/>
                </a:lnTo>
                <a:lnTo>
                  <a:pt x="1066" y="663"/>
                </a:lnTo>
                <a:lnTo>
                  <a:pt x="1071" y="663"/>
                </a:lnTo>
                <a:lnTo>
                  <a:pt x="1077" y="663"/>
                </a:lnTo>
                <a:lnTo>
                  <a:pt x="1077" y="669"/>
                </a:lnTo>
                <a:lnTo>
                  <a:pt x="1083" y="669"/>
                </a:lnTo>
                <a:lnTo>
                  <a:pt x="1088" y="669"/>
                </a:lnTo>
                <a:lnTo>
                  <a:pt x="1088" y="663"/>
                </a:lnTo>
                <a:lnTo>
                  <a:pt x="1094" y="663"/>
                </a:lnTo>
                <a:lnTo>
                  <a:pt x="1100" y="663"/>
                </a:lnTo>
                <a:lnTo>
                  <a:pt x="1105" y="663"/>
                </a:lnTo>
                <a:lnTo>
                  <a:pt x="1111" y="663"/>
                </a:lnTo>
                <a:lnTo>
                  <a:pt x="1105" y="663"/>
                </a:lnTo>
                <a:lnTo>
                  <a:pt x="1100" y="663"/>
                </a:lnTo>
                <a:lnTo>
                  <a:pt x="1094" y="663"/>
                </a:lnTo>
                <a:lnTo>
                  <a:pt x="1088" y="658"/>
                </a:lnTo>
                <a:lnTo>
                  <a:pt x="1083" y="658"/>
                </a:lnTo>
                <a:lnTo>
                  <a:pt x="1077" y="658"/>
                </a:lnTo>
                <a:lnTo>
                  <a:pt x="1077" y="652"/>
                </a:lnTo>
                <a:lnTo>
                  <a:pt x="1077" y="658"/>
                </a:lnTo>
                <a:lnTo>
                  <a:pt x="1077" y="652"/>
                </a:lnTo>
                <a:lnTo>
                  <a:pt x="1071" y="652"/>
                </a:lnTo>
                <a:lnTo>
                  <a:pt x="1066" y="652"/>
                </a:lnTo>
                <a:lnTo>
                  <a:pt x="1060" y="652"/>
                </a:lnTo>
                <a:lnTo>
                  <a:pt x="1054" y="652"/>
                </a:lnTo>
                <a:lnTo>
                  <a:pt x="1049" y="652"/>
                </a:lnTo>
                <a:lnTo>
                  <a:pt x="1049" y="646"/>
                </a:lnTo>
                <a:lnTo>
                  <a:pt x="1049" y="652"/>
                </a:lnTo>
                <a:lnTo>
                  <a:pt x="1049" y="646"/>
                </a:lnTo>
                <a:lnTo>
                  <a:pt x="1043" y="646"/>
                </a:lnTo>
                <a:lnTo>
                  <a:pt x="1043" y="641"/>
                </a:lnTo>
                <a:lnTo>
                  <a:pt x="1037" y="641"/>
                </a:lnTo>
                <a:lnTo>
                  <a:pt x="1032" y="641"/>
                </a:lnTo>
                <a:lnTo>
                  <a:pt x="1032" y="635"/>
                </a:lnTo>
                <a:lnTo>
                  <a:pt x="1026" y="635"/>
                </a:lnTo>
                <a:lnTo>
                  <a:pt x="1020" y="629"/>
                </a:lnTo>
                <a:lnTo>
                  <a:pt x="1015" y="629"/>
                </a:lnTo>
                <a:lnTo>
                  <a:pt x="1015" y="624"/>
                </a:lnTo>
                <a:lnTo>
                  <a:pt x="1015" y="618"/>
                </a:lnTo>
                <a:lnTo>
                  <a:pt x="1015" y="612"/>
                </a:lnTo>
                <a:lnTo>
                  <a:pt x="1015" y="606"/>
                </a:lnTo>
                <a:lnTo>
                  <a:pt x="1015" y="612"/>
                </a:lnTo>
                <a:lnTo>
                  <a:pt x="1015" y="618"/>
                </a:lnTo>
                <a:lnTo>
                  <a:pt x="1015" y="624"/>
                </a:lnTo>
                <a:lnTo>
                  <a:pt x="1020" y="624"/>
                </a:lnTo>
                <a:lnTo>
                  <a:pt x="1020" y="618"/>
                </a:lnTo>
                <a:lnTo>
                  <a:pt x="1020" y="624"/>
                </a:lnTo>
                <a:lnTo>
                  <a:pt x="1020" y="618"/>
                </a:lnTo>
                <a:lnTo>
                  <a:pt x="1015" y="618"/>
                </a:lnTo>
                <a:lnTo>
                  <a:pt x="1015" y="612"/>
                </a:lnTo>
                <a:lnTo>
                  <a:pt x="1015" y="606"/>
                </a:lnTo>
                <a:lnTo>
                  <a:pt x="1015" y="601"/>
                </a:lnTo>
                <a:lnTo>
                  <a:pt x="1015" y="595"/>
                </a:lnTo>
                <a:lnTo>
                  <a:pt x="1009" y="595"/>
                </a:lnTo>
                <a:lnTo>
                  <a:pt x="1009" y="589"/>
                </a:lnTo>
                <a:lnTo>
                  <a:pt x="1003" y="584"/>
                </a:lnTo>
                <a:lnTo>
                  <a:pt x="998" y="584"/>
                </a:lnTo>
                <a:lnTo>
                  <a:pt x="998" y="578"/>
                </a:lnTo>
                <a:lnTo>
                  <a:pt x="992" y="578"/>
                </a:lnTo>
                <a:lnTo>
                  <a:pt x="986" y="578"/>
                </a:lnTo>
                <a:lnTo>
                  <a:pt x="986" y="572"/>
                </a:lnTo>
                <a:lnTo>
                  <a:pt x="986" y="567"/>
                </a:lnTo>
                <a:lnTo>
                  <a:pt x="981" y="561"/>
                </a:lnTo>
                <a:lnTo>
                  <a:pt x="981" y="555"/>
                </a:lnTo>
                <a:lnTo>
                  <a:pt x="981" y="550"/>
                </a:lnTo>
                <a:lnTo>
                  <a:pt x="975" y="550"/>
                </a:lnTo>
                <a:lnTo>
                  <a:pt x="975" y="544"/>
                </a:lnTo>
                <a:lnTo>
                  <a:pt x="975" y="538"/>
                </a:lnTo>
                <a:lnTo>
                  <a:pt x="969" y="538"/>
                </a:lnTo>
                <a:lnTo>
                  <a:pt x="969" y="533"/>
                </a:lnTo>
                <a:lnTo>
                  <a:pt x="964" y="533"/>
                </a:lnTo>
                <a:lnTo>
                  <a:pt x="964" y="527"/>
                </a:lnTo>
                <a:lnTo>
                  <a:pt x="958" y="527"/>
                </a:lnTo>
                <a:lnTo>
                  <a:pt x="958" y="521"/>
                </a:lnTo>
                <a:lnTo>
                  <a:pt x="952" y="521"/>
                </a:lnTo>
                <a:lnTo>
                  <a:pt x="952" y="516"/>
                </a:lnTo>
                <a:lnTo>
                  <a:pt x="947" y="516"/>
                </a:lnTo>
                <a:lnTo>
                  <a:pt x="941" y="516"/>
                </a:lnTo>
                <a:lnTo>
                  <a:pt x="935" y="516"/>
                </a:lnTo>
                <a:lnTo>
                  <a:pt x="935" y="510"/>
                </a:lnTo>
                <a:lnTo>
                  <a:pt x="930" y="510"/>
                </a:lnTo>
                <a:lnTo>
                  <a:pt x="924" y="510"/>
                </a:lnTo>
                <a:lnTo>
                  <a:pt x="918" y="510"/>
                </a:lnTo>
                <a:lnTo>
                  <a:pt x="913" y="510"/>
                </a:lnTo>
                <a:lnTo>
                  <a:pt x="907" y="510"/>
                </a:lnTo>
                <a:lnTo>
                  <a:pt x="901" y="510"/>
                </a:lnTo>
                <a:lnTo>
                  <a:pt x="896" y="510"/>
                </a:lnTo>
                <a:lnTo>
                  <a:pt x="890" y="504"/>
                </a:lnTo>
                <a:lnTo>
                  <a:pt x="884" y="504"/>
                </a:lnTo>
                <a:lnTo>
                  <a:pt x="879" y="504"/>
                </a:lnTo>
                <a:lnTo>
                  <a:pt x="879" y="510"/>
                </a:lnTo>
                <a:lnTo>
                  <a:pt x="873" y="510"/>
                </a:lnTo>
                <a:lnTo>
                  <a:pt x="867" y="510"/>
                </a:lnTo>
                <a:lnTo>
                  <a:pt x="867" y="504"/>
                </a:lnTo>
                <a:lnTo>
                  <a:pt x="862" y="504"/>
                </a:lnTo>
                <a:lnTo>
                  <a:pt x="867" y="504"/>
                </a:lnTo>
                <a:lnTo>
                  <a:pt x="862" y="504"/>
                </a:lnTo>
                <a:lnTo>
                  <a:pt x="862" y="499"/>
                </a:lnTo>
                <a:lnTo>
                  <a:pt x="856" y="499"/>
                </a:lnTo>
                <a:lnTo>
                  <a:pt x="856" y="493"/>
                </a:lnTo>
                <a:lnTo>
                  <a:pt x="850" y="493"/>
                </a:lnTo>
                <a:lnTo>
                  <a:pt x="850" y="487"/>
                </a:lnTo>
                <a:lnTo>
                  <a:pt x="850" y="482"/>
                </a:lnTo>
                <a:lnTo>
                  <a:pt x="850" y="476"/>
                </a:lnTo>
                <a:lnTo>
                  <a:pt x="845" y="476"/>
                </a:lnTo>
                <a:lnTo>
                  <a:pt x="845" y="470"/>
                </a:lnTo>
                <a:lnTo>
                  <a:pt x="845" y="465"/>
                </a:lnTo>
                <a:lnTo>
                  <a:pt x="839" y="465"/>
                </a:lnTo>
                <a:lnTo>
                  <a:pt x="839" y="459"/>
                </a:lnTo>
                <a:lnTo>
                  <a:pt x="833" y="453"/>
                </a:lnTo>
                <a:lnTo>
                  <a:pt x="839" y="453"/>
                </a:lnTo>
                <a:lnTo>
                  <a:pt x="833" y="453"/>
                </a:lnTo>
                <a:lnTo>
                  <a:pt x="833" y="448"/>
                </a:lnTo>
                <a:lnTo>
                  <a:pt x="833" y="453"/>
                </a:lnTo>
                <a:lnTo>
                  <a:pt x="833" y="448"/>
                </a:lnTo>
                <a:lnTo>
                  <a:pt x="828" y="448"/>
                </a:lnTo>
                <a:lnTo>
                  <a:pt x="833" y="448"/>
                </a:lnTo>
                <a:lnTo>
                  <a:pt x="839" y="442"/>
                </a:lnTo>
                <a:lnTo>
                  <a:pt x="845" y="442"/>
                </a:lnTo>
                <a:lnTo>
                  <a:pt x="850" y="442"/>
                </a:lnTo>
                <a:lnTo>
                  <a:pt x="856" y="442"/>
                </a:lnTo>
                <a:lnTo>
                  <a:pt x="856" y="448"/>
                </a:lnTo>
                <a:lnTo>
                  <a:pt x="862" y="448"/>
                </a:lnTo>
                <a:lnTo>
                  <a:pt x="867" y="448"/>
                </a:lnTo>
                <a:lnTo>
                  <a:pt x="873" y="442"/>
                </a:lnTo>
                <a:lnTo>
                  <a:pt x="873" y="436"/>
                </a:lnTo>
                <a:lnTo>
                  <a:pt x="867" y="436"/>
                </a:lnTo>
                <a:lnTo>
                  <a:pt x="867" y="431"/>
                </a:lnTo>
                <a:lnTo>
                  <a:pt x="867" y="436"/>
                </a:lnTo>
                <a:lnTo>
                  <a:pt x="867" y="431"/>
                </a:lnTo>
                <a:lnTo>
                  <a:pt x="873" y="431"/>
                </a:lnTo>
                <a:lnTo>
                  <a:pt x="867" y="431"/>
                </a:lnTo>
                <a:lnTo>
                  <a:pt x="867" y="425"/>
                </a:lnTo>
                <a:lnTo>
                  <a:pt x="862" y="419"/>
                </a:lnTo>
                <a:lnTo>
                  <a:pt x="862" y="414"/>
                </a:lnTo>
                <a:lnTo>
                  <a:pt x="862" y="408"/>
                </a:lnTo>
                <a:lnTo>
                  <a:pt x="862" y="402"/>
                </a:lnTo>
                <a:lnTo>
                  <a:pt x="856" y="402"/>
                </a:lnTo>
                <a:lnTo>
                  <a:pt x="850" y="402"/>
                </a:lnTo>
                <a:lnTo>
                  <a:pt x="845" y="408"/>
                </a:lnTo>
                <a:lnTo>
                  <a:pt x="839" y="408"/>
                </a:lnTo>
                <a:lnTo>
                  <a:pt x="839" y="402"/>
                </a:lnTo>
                <a:lnTo>
                  <a:pt x="833" y="402"/>
                </a:lnTo>
                <a:lnTo>
                  <a:pt x="833" y="397"/>
                </a:lnTo>
                <a:lnTo>
                  <a:pt x="833" y="391"/>
                </a:lnTo>
                <a:lnTo>
                  <a:pt x="833" y="385"/>
                </a:lnTo>
                <a:lnTo>
                  <a:pt x="828" y="385"/>
                </a:lnTo>
                <a:lnTo>
                  <a:pt x="828" y="380"/>
                </a:lnTo>
                <a:lnTo>
                  <a:pt x="828" y="374"/>
                </a:lnTo>
                <a:lnTo>
                  <a:pt x="833" y="374"/>
                </a:lnTo>
                <a:lnTo>
                  <a:pt x="833" y="368"/>
                </a:lnTo>
                <a:lnTo>
                  <a:pt x="833" y="363"/>
                </a:lnTo>
                <a:lnTo>
                  <a:pt x="839" y="363"/>
                </a:lnTo>
                <a:lnTo>
                  <a:pt x="833" y="363"/>
                </a:lnTo>
                <a:lnTo>
                  <a:pt x="839" y="363"/>
                </a:lnTo>
                <a:lnTo>
                  <a:pt x="839" y="357"/>
                </a:lnTo>
                <a:lnTo>
                  <a:pt x="833" y="357"/>
                </a:lnTo>
                <a:lnTo>
                  <a:pt x="839" y="351"/>
                </a:lnTo>
                <a:lnTo>
                  <a:pt x="833" y="351"/>
                </a:lnTo>
                <a:lnTo>
                  <a:pt x="839" y="351"/>
                </a:lnTo>
                <a:lnTo>
                  <a:pt x="845" y="351"/>
                </a:lnTo>
                <a:lnTo>
                  <a:pt x="850" y="351"/>
                </a:lnTo>
                <a:lnTo>
                  <a:pt x="850" y="346"/>
                </a:lnTo>
                <a:lnTo>
                  <a:pt x="856" y="346"/>
                </a:lnTo>
                <a:lnTo>
                  <a:pt x="862" y="346"/>
                </a:lnTo>
                <a:lnTo>
                  <a:pt x="856" y="346"/>
                </a:lnTo>
                <a:lnTo>
                  <a:pt x="856" y="340"/>
                </a:lnTo>
                <a:lnTo>
                  <a:pt x="862" y="340"/>
                </a:lnTo>
                <a:lnTo>
                  <a:pt x="862" y="334"/>
                </a:lnTo>
                <a:lnTo>
                  <a:pt x="862" y="329"/>
                </a:lnTo>
                <a:lnTo>
                  <a:pt x="867" y="329"/>
                </a:lnTo>
                <a:lnTo>
                  <a:pt x="867" y="323"/>
                </a:lnTo>
                <a:lnTo>
                  <a:pt x="873" y="323"/>
                </a:lnTo>
                <a:lnTo>
                  <a:pt x="867" y="323"/>
                </a:lnTo>
                <a:lnTo>
                  <a:pt x="862" y="323"/>
                </a:lnTo>
                <a:lnTo>
                  <a:pt x="862" y="329"/>
                </a:lnTo>
                <a:lnTo>
                  <a:pt x="856" y="334"/>
                </a:lnTo>
                <a:lnTo>
                  <a:pt x="850" y="334"/>
                </a:lnTo>
                <a:lnTo>
                  <a:pt x="850" y="340"/>
                </a:lnTo>
                <a:lnTo>
                  <a:pt x="845" y="340"/>
                </a:lnTo>
                <a:lnTo>
                  <a:pt x="845" y="346"/>
                </a:lnTo>
                <a:lnTo>
                  <a:pt x="839" y="346"/>
                </a:lnTo>
                <a:lnTo>
                  <a:pt x="839" y="340"/>
                </a:lnTo>
                <a:lnTo>
                  <a:pt x="839" y="334"/>
                </a:lnTo>
                <a:lnTo>
                  <a:pt x="833" y="334"/>
                </a:lnTo>
                <a:lnTo>
                  <a:pt x="828" y="334"/>
                </a:lnTo>
                <a:lnTo>
                  <a:pt x="828" y="340"/>
                </a:lnTo>
                <a:lnTo>
                  <a:pt x="822" y="340"/>
                </a:lnTo>
                <a:lnTo>
                  <a:pt x="822" y="334"/>
                </a:lnTo>
                <a:lnTo>
                  <a:pt x="816" y="334"/>
                </a:lnTo>
                <a:lnTo>
                  <a:pt x="811" y="334"/>
                </a:lnTo>
                <a:lnTo>
                  <a:pt x="805" y="334"/>
                </a:lnTo>
                <a:lnTo>
                  <a:pt x="799" y="334"/>
                </a:lnTo>
                <a:lnTo>
                  <a:pt x="799" y="340"/>
                </a:lnTo>
                <a:lnTo>
                  <a:pt x="799" y="346"/>
                </a:lnTo>
                <a:lnTo>
                  <a:pt x="799" y="340"/>
                </a:lnTo>
                <a:lnTo>
                  <a:pt x="799" y="346"/>
                </a:lnTo>
                <a:lnTo>
                  <a:pt x="794" y="346"/>
                </a:lnTo>
                <a:lnTo>
                  <a:pt x="794" y="340"/>
                </a:lnTo>
                <a:lnTo>
                  <a:pt x="788" y="340"/>
                </a:lnTo>
                <a:lnTo>
                  <a:pt x="782" y="340"/>
                </a:lnTo>
                <a:lnTo>
                  <a:pt x="782" y="334"/>
                </a:lnTo>
                <a:lnTo>
                  <a:pt x="782" y="329"/>
                </a:lnTo>
                <a:lnTo>
                  <a:pt x="777" y="329"/>
                </a:lnTo>
                <a:lnTo>
                  <a:pt x="777" y="323"/>
                </a:lnTo>
                <a:lnTo>
                  <a:pt x="777" y="329"/>
                </a:lnTo>
                <a:lnTo>
                  <a:pt x="777" y="334"/>
                </a:lnTo>
                <a:lnTo>
                  <a:pt x="782" y="334"/>
                </a:lnTo>
                <a:lnTo>
                  <a:pt x="777" y="334"/>
                </a:lnTo>
                <a:lnTo>
                  <a:pt x="777" y="329"/>
                </a:lnTo>
                <a:lnTo>
                  <a:pt x="777" y="323"/>
                </a:lnTo>
                <a:lnTo>
                  <a:pt x="771" y="323"/>
                </a:lnTo>
                <a:lnTo>
                  <a:pt x="777" y="323"/>
                </a:lnTo>
                <a:lnTo>
                  <a:pt x="771" y="323"/>
                </a:lnTo>
                <a:lnTo>
                  <a:pt x="771" y="317"/>
                </a:lnTo>
                <a:lnTo>
                  <a:pt x="771" y="323"/>
                </a:lnTo>
                <a:lnTo>
                  <a:pt x="771" y="329"/>
                </a:lnTo>
                <a:lnTo>
                  <a:pt x="777" y="329"/>
                </a:lnTo>
                <a:lnTo>
                  <a:pt x="777" y="334"/>
                </a:lnTo>
                <a:lnTo>
                  <a:pt x="777" y="329"/>
                </a:lnTo>
                <a:lnTo>
                  <a:pt x="771" y="329"/>
                </a:lnTo>
                <a:lnTo>
                  <a:pt x="771" y="323"/>
                </a:lnTo>
                <a:lnTo>
                  <a:pt x="771" y="317"/>
                </a:lnTo>
                <a:lnTo>
                  <a:pt x="771" y="312"/>
                </a:lnTo>
                <a:lnTo>
                  <a:pt x="777" y="312"/>
                </a:lnTo>
                <a:lnTo>
                  <a:pt x="777" y="306"/>
                </a:lnTo>
                <a:lnTo>
                  <a:pt x="782" y="306"/>
                </a:lnTo>
                <a:lnTo>
                  <a:pt x="782" y="312"/>
                </a:lnTo>
                <a:lnTo>
                  <a:pt x="788" y="312"/>
                </a:lnTo>
                <a:lnTo>
                  <a:pt x="788" y="306"/>
                </a:lnTo>
                <a:lnTo>
                  <a:pt x="794" y="306"/>
                </a:lnTo>
                <a:lnTo>
                  <a:pt x="799" y="306"/>
                </a:lnTo>
                <a:lnTo>
                  <a:pt x="794" y="306"/>
                </a:lnTo>
                <a:lnTo>
                  <a:pt x="794" y="300"/>
                </a:lnTo>
                <a:lnTo>
                  <a:pt x="799" y="300"/>
                </a:lnTo>
                <a:lnTo>
                  <a:pt x="794" y="300"/>
                </a:lnTo>
                <a:lnTo>
                  <a:pt x="788" y="300"/>
                </a:lnTo>
                <a:lnTo>
                  <a:pt x="782" y="300"/>
                </a:lnTo>
                <a:lnTo>
                  <a:pt x="777" y="300"/>
                </a:lnTo>
                <a:lnTo>
                  <a:pt x="777" y="295"/>
                </a:lnTo>
                <a:lnTo>
                  <a:pt x="782" y="295"/>
                </a:lnTo>
                <a:lnTo>
                  <a:pt x="782" y="289"/>
                </a:lnTo>
                <a:lnTo>
                  <a:pt x="788" y="289"/>
                </a:lnTo>
                <a:lnTo>
                  <a:pt x="794" y="283"/>
                </a:lnTo>
                <a:lnTo>
                  <a:pt x="794" y="289"/>
                </a:lnTo>
                <a:lnTo>
                  <a:pt x="794" y="283"/>
                </a:lnTo>
                <a:lnTo>
                  <a:pt x="799" y="283"/>
                </a:lnTo>
                <a:lnTo>
                  <a:pt x="799" y="289"/>
                </a:lnTo>
                <a:lnTo>
                  <a:pt x="799" y="283"/>
                </a:lnTo>
                <a:lnTo>
                  <a:pt x="805" y="283"/>
                </a:lnTo>
                <a:lnTo>
                  <a:pt x="811" y="283"/>
                </a:lnTo>
                <a:lnTo>
                  <a:pt x="816" y="283"/>
                </a:lnTo>
                <a:lnTo>
                  <a:pt x="828" y="283"/>
                </a:lnTo>
                <a:lnTo>
                  <a:pt x="833" y="283"/>
                </a:lnTo>
                <a:lnTo>
                  <a:pt x="839" y="283"/>
                </a:lnTo>
                <a:lnTo>
                  <a:pt x="845" y="283"/>
                </a:lnTo>
                <a:lnTo>
                  <a:pt x="850" y="283"/>
                </a:lnTo>
                <a:lnTo>
                  <a:pt x="845" y="283"/>
                </a:lnTo>
                <a:lnTo>
                  <a:pt x="850" y="283"/>
                </a:lnTo>
                <a:lnTo>
                  <a:pt x="856" y="278"/>
                </a:lnTo>
                <a:lnTo>
                  <a:pt x="862" y="278"/>
                </a:lnTo>
                <a:lnTo>
                  <a:pt x="856" y="278"/>
                </a:lnTo>
                <a:lnTo>
                  <a:pt x="862" y="278"/>
                </a:lnTo>
                <a:lnTo>
                  <a:pt x="862" y="272"/>
                </a:lnTo>
                <a:lnTo>
                  <a:pt x="862" y="266"/>
                </a:lnTo>
                <a:lnTo>
                  <a:pt x="867" y="266"/>
                </a:lnTo>
                <a:lnTo>
                  <a:pt x="867" y="261"/>
                </a:lnTo>
                <a:lnTo>
                  <a:pt x="873" y="261"/>
                </a:lnTo>
                <a:lnTo>
                  <a:pt x="879" y="261"/>
                </a:lnTo>
                <a:lnTo>
                  <a:pt x="879" y="255"/>
                </a:lnTo>
                <a:lnTo>
                  <a:pt x="879" y="249"/>
                </a:lnTo>
                <a:lnTo>
                  <a:pt x="884" y="249"/>
                </a:lnTo>
                <a:lnTo>
                  <a:pt x="884" y="244"/>
                </a:lnTo>
                <a:lnTo>
                  <a:pt x="879" y="244"/>
                </a:lnTo>
                <a:lnTo>
                  <a:pt x="879" y="238"/>
                </a:lnTo>
                <a:lnTo>
                  <a:pt x="873" y="238"/>
                </a:lnTo>
                <a:lnTo>
                  <a:pt x="873" y="232"/>
                </a:lnTo>
                <a:lnTo>
                  <a:pt x="873" y="238"/>
                </a:lnTo>
                <a:lnTo>
                  <a:pt x="867" y="238"/>
                </a:lnTo>
                <a:lnTo>
                  <a:pt x="867" y="244"/>
                </a:lnTo>
                <a:lnTo>
                  <a:pt x="867" y="249"/>
                </a:lnTo>
                <a:lnTo>
                  <a:pt x="862" y="249"/>
                </a:lnTo>
                <a:lnTo>
                  <a:pt x="862" y="255"/>
                </a:lnTo>
                <a:lnTo>
                  <a:pt x="862" y="261"/>
                </a:lnTo>
                <a:lnTo>
                  <a:pt x="856" y="261"/>
                </a:lnTo>
                <a:lnTo>
                  <a:pt x="850" y="261"/>
                </a:lnTo>
                <a:lnTo>
                  <a:pt x="845" y="261"/>
                </a:lnTo>
                <a:lnTo>
                  <a:pt x="839" y="261"/>
                </a:lnTo>
                <a:lnTo>
                  <a:pt x="833" y="261"/>
                </a:lnTo>
                <a:lnTo>
                  <a:pt x="833" y="255"/>
                </a:lnTo>
                <a:lnTo>
                  <a:pt x="828" y="255"/>
                </a:lnTo>
                <a:lnTo>
                  <a:pt x="833" y="249"/>
                </a:lnTo>
                <a:lnTo>
                  <a:pt x="828" y="244"/>
                </a:lnTo>
                <a:lnTo>
                  <a:pt x="833" y="244"/>
                </a:lnTo>
                <a:lnTo>
                  <a:pt x="833" y="238"/>
                </a:lnTo>
                <a:lnTo>
                  <a:pt x="839" y="238"/>
                </a:lnTo>
                <a:lnTo>
                  <a:pt x="845" y="238"/>
                </a:lnTo>
                <a:lnTo>
                  <a:pt x="845" y="232"/>
                </a:lnTo>
                <a:lnTo>
                  <a:pt x="850" y="227"/>
                </a:lnTo>
                <a:lnTo>
                  <a:pt x="850" y="221"/>
                </a:lnTo>
                <a:lnTo>
                  <a:pt x="845" y="221"/>
                </a:lnTo>
                <a:lnTo>
                  <a:pt x="845" y="215"/>
                </a:lnTo>
                <a:lnTo>
                  <a:pt x="845" y="221"/>
                </a:lnTo>
                <a:lnTo>
                  <a:pt x="839" y="221"/>
                </a:lnTo>
                <a:lnTo>
                  <a:pt x="833" y="221"/>
                </a:lnTo>
                <a:lnTo>
                  <a:pt x="833" y="227"/>
                </a:lnTo>
                <a:lnTo>
                  <a:pt x="833" y="221"/>
                </a:lnTo>
                <a:lnTo>
                  <a:pt x="828" y="221"/>
                </a:lnTo>
                <a:lnTo>
                  <a:pt x="833" y="221"/>
                </a:lnTo>
                <a:lnTo>
                  <a:pt x="839" y="221"/>
                </a:lnTo>
                <a:lnTo>
                  <a:pt x="845" y="215"/>
                </a:lnTo>
                <a:lnTo>
                  <a:pt x="850" y="210"/>
                </a:lnTo>
                <a:lnTo>
                  <a:pt x="850" y="204"/>
                </a:lnTo>
                <a:lnTo>
                  <a:pt x="850" y="198"/>
                </a:lnTo>
                <a:lnTo>
                  <a:pt x="845" y="198"/>
                </a:lnTo>
                <a:lnTo>
                  <a:pt x="845" y="204"/>
                </a:lnTo>
                <a:lnTo>
                  <a:pt x="845" y="198"/>
                </a:lnTo>
                <a:lnTo>
                  <a:pt x="839" y="198"/>
                </a:lnTo>
                <a:lnTo>
                  <a:pt x="833" y="198"/>
                </a:lnTo>
                <a:lnTo>
                  <a:pt x="833" y="204"/>
                </a:lnTo>
                <a:lnTo>
                  <a:pt x="833" y="198"/>
                </a:lnTo>
                <a:lnTo>
                  <a:pt x="839" y="198"/>
                </a:lnTo>
                <a:lnTo>
                  <a:pt x="839" y="193"/>
                </a:lnTo>
                <a:lnTo>
                  <a:pt x="839" y="187"/>
                </a:lnTo>
                <a:lnTo>
                  <a:pt x="839" y="181"/>
                </a:lnTo>
                <a:lnTo>
                  <a:pt x="833" y="181"/>
                </a:lnTo>
                <a:lnTo>
                  <a:pt x="833" y="176"/>
                </a:lnTo>
                <a:lnTo>
                  <a:pt x="828" y="176"/>
                </a:lnTo>
                <a:lnTo>
                  <a:pt x="828" y="170"/>
                </a:lnTo>
                <a:lnTo>
                  <a:pt x="822" y="170"/>
                </a:lnTo>
                <a:lnTo>
                  <a:pt x="822" y="164"/>
                </a:lnTo>
                <a:lnTo>
                  <a:pt x="816" y="164"/>
                </a:lnTo>
                <a:lnTo>
                  <a:pt x="816" y="159"/>
                </a:lnTo>
                <a:lnTo>
                  <a:pt x="816" y="153"/>
                </a:lnTo>
                <a:lnTo>
                  <a:pt x="811" y="153"/>
                </a:lnTo>
                <a:lnTo>
                  <a:pt x="811" y="147"/>
                </a:lnTo>
                <a:lnTo>
                  <a:pt x="805" y="159"/>
                </a:lnTo>
                <a:lnTo>
                  <a:pt x="811" y="159"/>
                </a:lnTo>
                <a:lnTo>
                  <a:pt x="811" y="164"/>
                </a:lnTo>
                <a:lnTo>
                  <a:pt x="805" y="164"/>
                </a:lnTo>
                <a:lnTo>
                  <a:pt x="805" y="170"/>
                </a:lnTo>
                <a:lnTo>
                  <a:pt x="799" y="170"/>
                </a:lnTo>
                <a:lnTo>
                  <a:pt x="799" y="164"/>
                </a:lnTo>
                <a:lnTo>
                  <a:pt x="799" y="170"/>
                </a:lnTo>
                <a:lnTo>
                  <a:pt x="794" y="170"/>
                </a:lnTo>
                <a:lnTo>
                  <a:pt x="794" y="176"/>
                </a:lnTo>
                <a:lnTo>
                  <a:pt x="794" y="181"/>
                </a:lnTo>
                <a:lnTo>
                  <a:pt x="788" y="181"/>
                </a:lnTo>
                <a:lnTo>
                  <a:pt x="782" y="181"/>
                </a:lnTo>
                <a:lnTo>
                  <a:pt x="782" y="187"/>
                </a:lnTo>
                <a:lnTo>
                  <a:pt x="782" y="181"/>
                </a:lnTo>
                <a:lnTo>
                  <a:pt x="777" y="181"/>
                </a:lnTo>
                <a:lnTo>
                  <a:pt x="777" y="187"/>
                </a:lnTo>
                <a:lnTo>
                  <a:pt x="771" y="187"/>
                </a:lnTo>
                <a:lnTo>
                  <a:pt x="765" y="187"/>
                </a:lnTo>
                <a:lnTo>
                  <a:pt x="765" y="193"/>
                </a:lnTo>
                <a:lnTo>
                  <a:pt x="765" y="187"/>
                </a:lnTo>
                <a:lnTo>
                  <a:pt x="760" y="187"/>
                </a:lnTo>
                <a:lnTo>
                  <a:pt x="765" y="181"/>
                </a:lnTo>
                <a:lnTo>
                  <a:pt x="765" y="187"/>
                </a:lnTo>
                <a:lnTo>
                  <a:pt x="765" y="181"/>
                </a:lnTo>
                <a:lnTo>
                  <a:pt x="771" y="181"/>
                </a:lnTo>
                <a:lnTo>
                  <a:pt x="777" y="181"/>
                </a:lnTo>
                <a:lnTo>
                  <a:pt x="782" y="181"/>
                </a:lnTo>
                <a:lnTo>
                  <a:pt x="788" y="181"/>
                </a:lnTo>
                <a:lnTo>
                  <a:pt x="788" y="176"/>
                </a:lnTo>
                <a:lnTo>
                  <a:pt x="794" y="176"/>
                </a:lnTo>
                <a:lnTo>
                  <a:pt x="794" y="170"/>
                </a:lnTo>
                <a:lnTo>
                  <a:pt x="799" y="170"/>
                </a:lnTo>
                <a:lnTo>
                  <a:pt x="799" y="164"/>
                </a:lnTo>
                <a:lnTo>
                  <a:pt x="805" y="164"/>
                </a:lnTo>
                <a:lnTo>
                  <a:pt x="805" y="159"/>
                </a:lnTo>
                <a:lnTo>
                  <a:pt x="811" y="147"/>
                </a:lnTo>
                <a:lnTo>
                  <a:pt x="805" y="147"/>
                </a:lnTo>
                <a:lnTo>
                  <a:pt x="805" y="142"/>
                </a:lnTo>
                <a:lnTo>
                  <a:pt x="799" y="142"/>
                </a:lnTo>
                <a:lnTo>
                  <a:pt x="805" y="142"/>
                </a:lnTo>
                <a:lnTo>
                  <a:pt x="805" y="136"/>
                </a:lnTo>
                <a:lnTo>
                  <a:pt x="805" y="130"/>
                </a:lnTo>
                <a:lnTo>
                  <a:pt x="805" y="125"/>
                </a:lnTo>
                <a:lnTo>
                  <a:pt x="805" y="119"/>
                </a:lnTo>
                <a:lnTo>
                  <a:pt x="799" y="119"/>
                </a:lnTo>
                <a:lnTo>
                  <a:pt x="799" y="113"/>
                </a:lnTo>
                <a:lnTo>
                  <a:pt x="799" y="119"/>
                </a:lnTo>
                <a:lnTo>
                  <a:pt x="799" y="113"/>
                </a:lnTo>
                <a:lnTo>
                  <a:pt x="794" y="113"/>
                </a:lnTo>
                <a:lnTo>
                  <a:pt x="794" y="108"/>
                </a:lnTo>
                <a:lnTo>
                  <a:pt x="788" y="108"/>
                </a:lnTo>
                <a:lnTo>
                  <a:pt x="788" y="102"/>
                </a:lnTo>
                <a:lnTo>
                  <a:pt x="788" y="96"/>
                </a:lnTo>
                <a:lnTo>
                  <a:pt x="782" y="96"/>
                </a:lnTo>
                <a:lnTo>
                  <a:pt x="782" y="91"/>
                </a:lnTo>
                <a:lnTo>
                  <a:pt x="782" y="85"/>
                </a:lnTo>
                <a:lnTo>
                  <a:pt x="782" y="79"/>
                </a:lnTo>
                <a:lnTo>
                  <a:pt x="782" y="74"/>
                </a:lnTo>
                <a:lnTo>
                  <a:pt x="777" y="74"/>
                </a:lnTo>
                <a:lnTo>
                  <a:pt x="771" y="74"/>
                </a:lnTo>
                <a:lnTo>
                  <a:pt x="765" y="74"/>
                </a:lnTo>
                <a:lnTo>
                  <a:pt x="760" y="74"/>
                </a:lnTo>
                <a:lnTo>
                  <a:pt x="754" y="74"/>
                </a:lnTo>
                <a:lnTo>
                  <a:pt x="754" y="79"/>
                </a:lnTo>
                <a:lnTo>
                  <a:pt x="748" y="79"/>
                </a:lnTo>
                <a:lnTo>
                  <a:pt x="748" y="85"/>
                </a:lnTo>
                <a:lnTo>
                  <a:pt x="743" y="85"/>
                </a:lnTo>
                <a:lnTo>
                  <a:pt x="737" y="85"/>
                </a:lnTo>
                <a:lnTo>
                  <a:pt x="737" y="91"/>
                </a:lnTo>
                <a:lnTo>
                  <a:pt x="731" y="91"/>
                </a:lnTo>
                <a:lnTo>
                  <a:pt x="731" y="85"/>
                </a:lnTo>
                <a:lnTo>
                  <a:pt x="726" y="85"/>
                </a:lnTo>
                <a:lnTo>
                  <a:pt x="726" y="79"/>
                </a:lnTo>
                <a:lnTo>
                  <a:pt x="720" y="79"/>
                </a:lnTo>
                <a:lnTo>
                  <a:pt x="720" y="74"/>
                </a:lnTo>
                <a:lnTo>
                  <a:pt x="714" y="74"/>
                </a:lnTo>
                <a:lnTo>
                  <a:pt x="714" y="79"/>
                </a:lnTo>
                <a:lnTo>
                  <a:pt x="714" y="85"/>
                </a:lnTo>
                <a:lnTo>
                  <a:pt x="709" y="85"/>
                </a:lnTo>
                <a:lnTo>
                  <a:pt x="709" y="91"/>
                </a:lnTo>
                <a:lnTo>
                  <a:pt x="703" y="91"/>
                </a:lnTo>
                <a:lnTo>
                  <a:pt x="703" y="96"/>
                </a:lnTo>
                <a:lnTo>
                  <a:pt x="703" y="102"/>
                </a:lnTo>
                <a:lnTo>
                  <a:pt x="703" y="108"/>
                </a:lnTo>
                <a:lnTo>
                  <a:pt x="703" y="113"/>
                </a:lnTo>
                <a:lnTo>
                  <a:pt x="703" y="119"/>
                </a:lnTo>
                <a:lnTo>
                  <a:pt x="703" y="125"/>
                </a:lnTo>
                <a:lnTo>
                  <a:pt x="703" y="130"/>
                </a:lnTo>
                <a:lnTo>
                  <a:pt x="703" y="125"/>
                </a:lnTo>
                <a:lnTo>
                  <a:pt x="703" y="130"/>
                </a:lnTo>
                <a:lnTo>
                  <a:pt x="703" y="136"/>
                </a:lnTo>
                <a:lnTo>
                  <a:pt x="703" y="130"/>
                </a:lnTo>
                <a:lnTo>
                  <a:pt x="697" y="130"/>
                </a:lnTo>
                <a:lnTo>
                  <a:pt x="697" y="125"/>
                </a:lnTo>
                <a:lnTo>
                  <a:pt x="703" y="125"/>
                </a:lnTo>
                <a:lnTo>
                  <a:pt x="703" y="119"/>
                </a:lnTo>
                <a:lnTo>
                  <a:pt x="703" y="113"/>
                </a:lnTo>
                <a:lnTo>
                  <a:pt x="703" y="108"/>
                </a:lnTo>
                <a:lnTo>
                  <a:pt x="703" y="102"/>
                </a:lnTo>
                <a:lnTo>
                  <a:pt x="703" y="96"/>
                </a:lnTo>
                <a:lnTo>
                  <a:pt x="703" y="91"/>
                </a:lnTo>
                <a:lnTo>
                  <a:pt x="703" y="85"/>
                </a:lnTo>
                <a:lnTo>
                  <a:pt x="703" y="79"/>
                </a:lnTo>
                <a:lnTo>
                  <a:pt x="703" y="74"/>
                </a:lnTo>
                <a:lnTo>
                  <a:pt x="703" y="68"/>
                </a:lnTo>
                <a:lnTo>
                  <a:pt x="703" y="62"/>
                </a:lnTo>
                <a:lnTo>
                  <a:pt x="709" y="62"/>
                </a:lnTo>
                <a:lnTo>
                  <a:pt x="709" y="57"/>
                </a:lnTo>
                <a:lnTo>
                  <a:pt x="709" y="51"/>
                </a:lnTo>
                <a:lnTo>
                  <a:pt x="709" y="45"/>
                </a:lnTo>
                <a:lnTo>
                  <a:pt x="714" y="45"/>
                </a:lnTo>
                <a:lnTo>
                  <a:pt x="714" y="40"/>
                </a:lnTo>
                <a:lnTo>
                  <a:pt x="714" y="34"/>
                </a:lnTo>
                <a:lnTo>
                  <a:pt x="720" y="34"/>
                </a:lnTo>
                <a:lnTo>
                  <a:pt x="720" y="28"/>
                </a:lnTo>
                <a:lnTo>
                  <a:pt x="720" y="23"/>
                </a:lnTo>
                <a:lnTo>
                  <a:pt x="726" y="23"/>
                </a:lnTo>
                <a:lnTo>
                  <a:pt x="726" y="17"/>
                </a:lnTo>
                <a:lnTo>
                  <a:pt x="726" y="11"/>
                </a:lnTo>
                <a:lnTo>
                  <a:pt x="731" y="6"/>
                </a:lnTo>
                <a:lnTo>
                  <a:pt x="731" y="0"/>
                </a:lnTo>
                <a:lnTo>
                  <a:pt x="737" y="0"/>
                </a:lnTo>
                <a:lnTo>
                  <a:pt x="743" y="0"/>
                </a:lnTo>
                <a:lnTo>
                  <a:pt x="748" y="0"/>
                </a:lnTo>
                <a:lnTo>
                  <a:pt x="748" y="6"/>
                </a:lnTo>
                <a:lnTo>
                  <a:pt x="743" y="6"/>
                </a:lnTo>
                <a:lnTo>
                  <a:pt x="743" y="0"/>
                </a:lnTo>
                <a:lnTo>
                  <a:pt x="737" y="6"/>
                </a:lnTo>
                <a:lnTo>
                  <a:pt x="731" y="6"/>
                </a:lnTo>
                <a:lnTo>
                  <a:pt x="731" y="11"/>
                </a:lnTo>
                <a:lnTo>
                  <a:pt x="737" y="11"/>
                </a:lnTo>
                <a:lnTo>
                  <a:pt x="737" y="6"/>
                </a:lnTo>
                <a:lnTo>
                  <a:pt x="737" y="11"/>
                </a:lnTo>
                <a:lnTo>
                  <a:pt x="743" y="11"/>
                </a:lnTo>
                <a:lnTo>
                  <a:pt x="743" y="17"/>
                </a:lnTo>
                <a:lnTo>
                  <a:pt x="737" y="17"/>
                </a:lnTo>
                <a:lnTo>
                  <a:pt x="737" y="23"/>
                </a:lnTo>
                <a:lnTo>
                  <a:pt x="731" y="23"/>
                </a:lnTo>
                <a:lnTo>
                  <a:pt x="726" y="23"/>
                </a:lnTo>
                <a:lnTo>
                  <a:pt x="726" y="28"/>
                </a:lnTo>
                <a:lnTo>
                  <a:pt x="726" y="34"/>
                </a:lnTo>
                <a:lnTo>
                  <a:pt x="720" y="34"/>
                </a:lnTo>
                <a:lnTo>
                  <a:pt x="720" y="40"/>
                </a:lnTo>
                <a:lnTo>
                  <a:pt x="720" y="45"/>
                </a:lnTo>
                <a:lnTo>
                  <a:pt x="720" y="51"/>
                </a:lnTo>
                <a:lnTo>
                  <a:pt x="720" y="57"/>
                </a:lnTo>
                <a:lnTo>
                  <a:pt x="726" y="57"/>
                </a:lnTo>
                <a:lnTo>
                  <a:pt x="720" y="57"/>
                </a:lnTo>
                <a:lnTo>
                  <a:pt x="720" y="62"/>
                </a:lnTo>
                <a:lnTo>
                  <a:pt x="726" y="68"/>
                </a:lnTo>
                <a:lnTo>
                  <a:pt x="726" y="74"/>
                </a:lnTo>
                <a:lnTo>
                  <a:pt x="731" y="74"/>
                </a:lnTo>
                <a:lnTo>
                  <a:pt x="737" y="74"/>
                </a:lnTo>
                <a:lnTo>
                  <a:pt x="737" y="79"/>
                </a:lnTo>
                <a:lnTo>
                  <a:pt x="743" y="79"/>
                </a:lnTo>
                <a:lnTo>
                  <a:pt x="748" y="79"/>
                </a:lnTo>
                <a:lnTo>
                  <a:pt x="754" y="79"/>
                </a:lnTo>
                <a:lnTo>
                  <a:pt x="754" y="74"/>
                </a:lnTo>
                <a:lnTo>
                  <a:pt x="760" y="74"/>
                </a:lnTo>
                <a:lnTo>
                  <a:pt x="765" y="74"/>
                </a:lnTo>
                <a:lnTo>
                  <a:pt x="771" y="74"/>
                </a:lnTo>
                <a:lnTo>
                  <a:pt x="777" y="74"/>
                </a:lnTo>
                <a:lnTo>
                  <a:pt x="782" y="74"/>
                </a:lnTo>
                <a:lnTo>
                  <a:pt x="788" y="74"/>
                </a:lnTo>
                <a:lnTo>
                  <a:pt x="788" y="68"/>
                </a:lnTo>
                <a:lnTo>
                  <a:pt x="794" y="68"/>
                </a:lnTo>
                <a:lnTo>
                  <a:pt x="794" y="62"/>
                </a:lnTo>
                <a:lnTo>
                  <a:pt x="799" y="62"/>
                </a:lnTo>
                <a:lnTo>
                  <a:pt x="805" y="62"/>
                </a:lnTo>
                <a:lnTo>
                  <a:pt x="805" y="68"/>
                </a:lnTo>
                <a:lnTo>
                  <a:pt x="811" y="68"/>
                </a:lnTo>
                <a:lnTo>
                  <a:pt x="811" y="74"/>
                </a:lnTo>
                <a:lnTo>
                  <a:pt x="816" y="74"/>
                </a:lnTo>
                <a:lnTo>
                  <a:pt x="816" y="68"/>
                </a:lnTo>
                <a:lnTo>
                  <a:pt x="822" y="68"/>
                </a:lnTo>
                <a:lnTo>
                  <a:pt x="822" y="74"/>
                </a:lnTo>
                <a:lnTo>
                  <a:pt x="828" y="74"/>
                </a:lnTo>
                <a:lnTo>
                  <a:pt x="828" y="68"/>
                </a:lnTo>
                <a:lnTo>
                  <a:pt x="833" y="68"/>
                </a:lnTo>
                <a:lnTo>
                  <a:pt x="839" y="68"/>
                </a:lnTo>
                <a:lnTo>
                  <a:pt x="845" y="68"/>
                </a:lnTo>
                <a:lnTo>
                  <a:pt x="850" y="68"/>
                </a:lnTo>
                <a:lnTo>
                  <a:pt x="856" y="68"/>
                </a:lnTo>
                <a:lnTo>
                  <a:pt x="862" y="68"/>
                </a:lnTo>
                <a:lnTo>
                  <a:pt x="867" y="68"/>
                </a:lnTo>
                <a:lnTo>
                  <a:pt x="873" y="68"/>
                </a:lnTo>
                <a:lnTo>
                  <a:pt x="873" y="74"/>
                </a:lnTo>
                <a:lnTo>
                  <a:pt x="879" y="74"/>
                </a:lnTo>
                <a:lnTo>
                  <a:pt x="884" y="74"/>
                </a:lnTo>
                <a:lnTo>
                  <a:pt x="890" y="79"/>
                </a:lnTo>
                <a:lnTo>
                  <a:pt x="896" y="79"/>
                </a:lnTo>
                <a:lnTo>
                  <a:pt x="896" y="85"/>
                </a:lnTo>
                <a:lnTo>
                  <a:pt x="901" y="85"/>
                </a:lnTo>
                <a:lnTo>
                  <a:pt x="901" y="79"/>
                </a:lnTo>
                <a:lnTo>
                  <a:pt x="901" y="85"/>
                </a:lnTo>
                <a:lnTo>
                  <a:pt x="907" y="85"/>
                </a:lnTo>
                <a:lnTo>
                  <a:pt x="907" y="79"/>
                </a:lnTo>
                <a:lnTo>
                  <a:pt x="913" y="79"/>
                </a:lnTo>
                <a:lnTo>
                  <a:pt x="918" y="79"/>
                </a:lnTo>
                <a:lnTo>
                  <a:pt x="918" y="85"/>
                </a:lnTo>
                <a:lnTo>
                  <a:pt x="924" y="85"/>
                </a:lnTo>
                <a:lnTo>
                  <a:pt x="930" y="85"/>
                </a:lnTo>
                <a:lnTo>
                  <a:pt x="930" y="91"/>
                </a:lnTo>
                <a:lnTo>
                  <a:pt x="935" y="91"/>
                </a:lnTo>
                <a:lnTo>
                  <a:pt x="941" y="91"/>
                </a:lnTo>
                <a:lnTo>
                  <a:pt x="941" y="96"/>
                </a:lnTo>
                <a:lnTo>
                  <a:pt x="941" y="102"/>
                </a:lnTo>
                <a:lnTo>
                  <a:pt x="941" y="108"/>
                </a:lnTo>
                <a:lnTo>
                  <a:pt x="947" y="108"/>
                </a:lnTo>
                <a:lnTo>
                  <a:pt x="952" y="108"/>
                </a:lnTo>
                <a:lnTo>
                  <a:pt x="952" y="113"/>
                </a:lnTo>
                <a:lnTo>
                  <a:pt x="958" y="113"/>
                </a:lnTo>
                <a:lnTo>
                  <a:pt x="952" y="113"/>
                </a:lnTo>
                <a:lnTo>
                  <a:pt x="952" y="108"/>
                </a:lnTo>
                <a:lnTo>
                  <a:pt x="964" y="113"/>
                </a:lnTo>
                <a:lnTo>
                  <a:pt x="969" y="113"/>
                </a:lnTo>
                <a:lnTo>
                  <a:pt x="969" y="108"/>
                </a:lnTo>
                <a:lnTo>
                  <a:pt x="975" y="108"/>
                </a:lnTo>
                <a:lnTo>
                  <a:pt x="975" y="102"/>
                </a:lnTo>
                <a:lnTo>
                  <a:pt x="975" y="96"/>
                </a:lnTo>
                <a:lnTo>
                  <a:pt x="981" y="96"/>
                </a:lnTo>
                <a:lnTo>
                  <a:pt x="986" y="96"/>
                </a:lnTo>
                <a:lnTo>
                  <a:pt x="986" y="102"/>
                </a:lnTo>
                <a:lnTo>
                  <a:pt x="986" y="108"/>
                </a:lnTo>
                <a:lnTo>
                  <a:pt x="992" y="108"/>
                </a:lnTo>
                <a:lnTo>
                  <a:pt x="992" y="113"/>
                </a:lnTo>
                <a:lnTo>
                  <a:pt x="986" y="113"/>
                </a:lnTo>
                <a:lnTo>
                  <a:pt x="992" y="113"/>
                </a:lnTo>
                <a:lnTo>
                  <a:pt x="992" y="119"/>
                </a:lnTo>
                <a:lnTo>
                  <a:pt x="992" y="113"/>
                </a:lnTo>
                <a:lnTo>
                  <a:pt x="998" y="113"/>
                </a:lnTo>
                <a:lnTo>
                  <a:pt x="998" y="108"/>
                </a:lnTo>
                <a:lnTo>
                  <a:pt x="998" y="102"/>
                </a:lnTo>
                <a:lnTo>
                  <a:pt x="998" y="108"/>
                </a:lnTo>
                <a:lnTo>
                  <a:pt x="998" y="102"/>
                </a:lnTo>
                <a:lnTo>
                  <a:pt x="1003" y="102"/>
                </a:lnTo>
                <a:lnTo>
                  <a:pt x="1003" y="108"/>
                </a:lnTo>
                <a:lnTo>
                  <a:pt x="1009" y="108"/>
                </a:lnTo>
                <a:lnTo>
                  <a:pt x="1009" y="102"/>
                </a:lnTo>
                <a:lnTo>
                  <a:pt x="1009" y="96"/>
                </a:lnTo>
                <a:lnTo>
                  <a:pt x="1015" y="96"/>
                </a:lnTo>
                <a:lnTo>
                  <a:pt x="1015" y="91"/>
                </a:lnTo>
                <a:lnTo>
                  <a:pt x="1020" y="91"/>
                </a:lnTo>
                <a:lnTo>
                  <a:pt x="1026" y="91"/>
                </a:lnTo>
                <a:lnTo>
                  <a:pt x="1026" y="85"/>
                </a:lnTo>
                <a:lnTo>
                  <a:pt x="1026" y="79"/>
                </a:lnTo>
                <a:lnTo>
                  <a:pt x="1032" y="79"/>
                </a:lnTo>
                <a:lnTo>
                  <a:pt x="1037" y="79"/>
                </a:lnTo>
                <a:lnTo>
                  <a:pt x="1037" y="85"/>
                </a:lnTo>
                <a:lnTo>
                  <a:pt x="1032" y="85"/>
                </a:lnTo>
                <a:lnTo>
                  <a:pt x="1032" y="91"/>
                </a:lnTo>
                <a:lnTo>
                  <a:pt x="1032" y="96"/>
                </a:lnTo>
                <a:lnTo>
                  <a:pt x="1032" y="102"/>
                </a:lnTo>
                <a:lnTo>
                  <a:pt x="1037" y="102"/>
                </a:lnTo>
                <a:lnTo>
                  <a:pt x="1043" y="102"/>
                </a:lnTo>
                <a:lnTo>
                  <a:pt x="1043" y="108"/>
                </a:lnTo>
                <a:lnTo>
                  <a:pt x="1049" y="108"/>
                </a:lnTo>
                <a:lnTo>
                  <a:pt x="1049" y="102"/>
                </a:lnTo>
                <a:lnTo>
                  <a:pt x="1049" y="108"/>
                </a:lnTo>
                <a:lnTo>
                  <a:pt x="1054" y="108"/>
                </a:lnTo>
                <a:lnTo>
                  <a:pt x="1060" y="108"/>
                </a:lnTo>
                <a:lnTo>
                  <a:pt x="1060" y="113"/>
                </a:lnTo>
                <a:lnTo>
                  <a:pt x="1066" y="113"/>
                </a:lnTo>
                <a:lnTo>
                  <a:pt x="1071" y="113"/>
                </a:lnTo>
                <a:lnTo>
                  <a:pt x="1071" y="119"/>
                </a:lnTo>
                <a:lnTo>
                  <a:pt x="1077" y="119"/>
                </a:lnTo>
                <a:lnTo>
                  <a:pt x="1077" y="113"/>
                </a:lnTo>
                <a:lnTo>
                  <a:pt x="1083" y="113"/>
                </a:lnTo>
                <a:lnTo>
                  <a:pt x="1083" y="119"/>
                </a:lnTo>
                <a:lnTo>
                  <a:pt x="1083" y="125"/>
                </a:lnTo>
                <a:lnTo>
                  <a:pt x="1088" y="125"/>
                </a:lnTo>
                <a:lnTo>
                  <a:pt x="1088" y="130"/>
                </a:lnTo>
                <a:lnTo>
                  <a:pt x="1094" y="136"/>
                </a:lnTo>
                <a:lnTo>
                  <a:pt x="1100" y="136"/>
                </a:lnTo>
                <a:lnTo>
                  <a:pt x="1100" y="130"/>
                </a:lnTo>
                <a:lnTo>
                  <a:pt x="1105" y="130"/>
                </a:lnTo>
                <a:lnTo>
                  <a:pt x="1105" y="125"/>
                </a:lnTo>
                <a:lnTo>
                  <a:pt x="1105" y="130"/>
                </a:lnTo>
                <a:lnTo>
                  <a:pt x="1111" y="130"/>
                </a:lnTo>
                <a:lnTo>
                  <a:pt x="1105" y="125"/>
                </a:lnTo>
                <a:lnTo>
                  <a:pt x="1105" y="119"/>
                </a:lnTo>
                <a:lnTo>
                  <a:pt x="1111" y="119"/>
                </a:lnTo>
                <a:lnTo>
                  <a:pt x="1111" y="113"/>
                </a:lnTo>
                <a:lnTo>
                  <a:pt x="1111" y="119"/>
                </a:lnTo>
                <a:lnTo>
                  <a:pt x="1117" y="119"/>
                </a:lnTo>
                <a:lnTo>
                  <a:pt x="1117" y="125"/>
                </a:lnTo>
                <a:lnTo>
                  <a:pt x="1122" y="125"/>
                </a:lnTo>
                <a:lnTo>
                  <a:pt x="1122" y="130"/>
                </a:lnTo>
                <a:lnTo>
                  <a:pt x="1128" y="130"/>
                </a:lnTo>
                <a:lnTo>
                  <a:pt x="1128" y="136"/>
                </a:lnTo>
                <a:lnTo>
                  <a:pt x="1128" y="142"/>
                </a:lnTo>
                <a:lnTo>
                  <a:pt x="1128" y="147"/>
                </a:lnTo>
                <a:lnTo>
                  <a:pt x="1128" y="153"/>
                </a:lnTo>
                <a:lnTo>
                  <a:pt x="1134" y="153"/>
                </a:lnTo>
                <a:lnTo>
                  <a:pt x="1134" y="159"/>
                </a:lnTo>
                <a:lnTo>
                  <a:pt x="1139" y="159"/>
                </a:lnTo>
                <a:lnTo>
                  <a:pt x="1139" y="164"/>
                </a:lnTo>
                <a:lnTo>
                  <a:pt x="1139" y="170"/>
                </a:lnTo>
                <a:lnTo>
                  <a:pt x="1139" y="176"/>
                </a:lnTo>
                <a:lnTo>
                  <a:pt x="1145" y="176"/>
                </a:lnTo>
                <a:lnTo>
                  <a:pt x="1139" y="176"/>
                </a:lnTo>
                <a:lnTo>
                  <a:pt x="1139" y="181"/>
                </a:lnTo>
                <a:lnTo>
                  <a:pt x="1139" y="187"/>
                </a:lnTo>
                <a:lnTo>
                  <a:pt x="1139" y="193"/>
                </a:lnTo>
                <a:lnTo>
                  <a:pt x="1139" y="198"/>
                </a:lnTo>
                <a:lnTo>
                  <a:pt x="1139" y="204"/>
                </a:lnTo>
                <a:lnTo>
                  <a:pt x="1139" y="210"/>
                </a:lnTo>
                <a:lnTo>
                  <a:pt x="1139" y="215"/>
                </a:lnTo>
                <a:lnTo>
                  <a:pt x="1139" y="221"/>
                </a:lnTo>
                <a:lnTo>
                  <a:pt x="1139" y="227"/>
                </a:lnTo>
                <a:lnTo>
                  <a:pt x="1134" y="227"/>
                </a:lnTo>
                <a:lnTo>
                  <a:pt x="1134" y="232"/>
                </a:lnTo>
                <a:lnTo>
                  <a:pt x="1134" y="238"/>
                </a:lnTo>
                <a:lnTo>
                  <a:pt x="1128" y="238"/>
                </a:lnTo>
                <a:lnTo>
                  <a:pt x="1128" y="244"/>
                </a:lnTo>
                <a:lnTo>
                  <a:pt x="1122" y="244"/>
                </a:lnTo>
                <a:lnTo>
                  <a:pt x="1117" y="244"/>
                </a:lnTo>
                <a:lnTo>
                  <a:pt x="1117" y="249"/>
                </a:lnTo>
                <a:lnTo>
                  <a:pt x="1111" y="249"/>
                </a:lnTo>
                <a:lnTo>
                  <a:pt x="1105" y="255"/>
                </a:lnTo>
                <a:lnTo>
                  <a:pt x="1100" y="255"/>
                </a:lnTo>
                <a:lnTo>
                  <a:pt x="1094" y="255"/>
                </a:lnTo>
                <a:lnTo>
                  <a:pt x="1088" y="255"/>
                </a:lnTo>
                <a:lnTo>
                  <a:pt x="1094" y="255"/>
                </a:lnTo>
                <a:lnTo>
                  <a:pt x="1094" y="261"/>
                </a:lnTo>
                <a:lnTo>
                  <a:pt x="1094" y="266"/>
                </a:lnTo>
                <a:lnTo>
                  <a:pt x="1100" y="266"/>
                </a:lnTo>
                <a:lnTo>
                  <a:pt x="1105" y="266"/>
                </a:lnTo>
                <a:lnTo>
                  <a:pt x="1111" y="266"/>
                </a:lnTo>
                <a:lnTo>
                  <a:pt x="1111" y="261"/>
                </a:lnTo>
                <a:lnTo>
                  <a:pt x="1117" y="261"/>
                </a:lnTo>
                <a:lnTo>
                  <a:pt x="1122" y="261"/>
                </a:lnTo>
                <a:lnTo>
                  <a:pt x="1128" y="261"/>
                </a:lnTo>
                <a:lnTo>
                  <a:pt x="1134" y="261"/>
                </a:lnTo>
                <a:lnTo>
                  <a:pt x="1134" y="255"/>
                </a:lnTo>
                <a:lnTo>
                  <a:pt x="1139" y="255"/>
                </a:lnTo>
                <a:lnTo>
                  <a:pt x="1145" y="255"/>
                </a:lnTo>
                <a:lnTo>
                  <a:pt x="1151" y="255"/>
                </a:lnTo>
                <a:lnTo>
                  <a:pt x="1156" y="255"/>
                </a:lnTo>
                <a:lnTo>
                  <a:pt x="1162" y="255"/>
                </a:lnTo>
                <a:lnTo>
                  <a:pt x="1162" y="249"/>
                </a:lnTo>
                <a:lnTo>
                  <a:pt x="1162" y="255"/>
                </a:lnTo>
                <a:lnTo>
                  <a:pt x="1162" y="249"/>
                </a:lnTo>
                <a:lnTo>
                  <a:pt x="1162" y="255"/>
                </a:lnTo>
                <a:lnTo>
                  <a:pt x="1168" y="255"/>
                </a:lnTo>
                <a:lnTo>
                  <a:pt x="1173" y="255"/>
                </a:lnTo>
                <a:lnTo>
                  <a:pt x="1173" y="261"/>
                </a:lnTo>
                <a:lnTo>
                  <a:pt x="1179" y="261"/>
                </a:lnTo>
                <a:lnTo>
                  <a:pt x="1179" y="266"/>
                </a:lnTo>
                <a:lnTo>
                  <a:pt x="1185" y="266"/>
                </a:lnTo>
                <a:lnTo>
                  <a:pt x="1179" y="266"/>
                </a:lnTo>
                <a:lnTo>
                  <a:pt x="1179" y="272"/>
                </a:lnTo>
                <a:lnTo>
                  <a:pt x="1173" y="272"/>
                </a:lnTo>
                <a:lnTo>
                  <a:pt x="1173" y="278"/>
                </a:lnTo>
                <a:lnTo>
                  <a:pt x="1179" y="278"/>
                </a:lnTo>
                <a:lnTo>
                  <a:pt x="1179" y="283"/>
                </a:lnTo>
                <a:lnTo>
                  <a:pt x="1179" y="289"/>
                </a:lnTo>
                <a:lnTo>
                  <a:pt x="1179" y="295"/>
                </a:lnTo>
                <a:lnTo>
                  <a:pt x="1173" y="295"/>
                </a:lnTo>
                <a:lnTo>
                  <a:pt x="1173" y="300"/>
                </a:lnTo>
                <a:lnTo>
                  <a:pt x="1168" y="300"/>
                </a:lnTo>
                <a:lnTo>
                  <a:pt x="1162" y="300"/>
                </a:lnTo>
                <a:lnTo>
                  <a:pt x="1156" y="300"/>
                </a:lnTo>
                <a:lnTo>
                  <a:pt x="1151" y="300"/>
                </a:lnTo>
                <a:lnTo>
                  <a:pt x="1156" y="300"/>
                </a:lnTo>
                <a:lnTo>
                  <a:pt x="1162" y="300"/>
                </a:lnTo>
                <a:lnTo>
                  <a:pt x="1162" y="306"/>
                </a:lnTo>
                <a:lnTo>
                  <a:pt x="1168" y="306"/>
                </a:lnTo>
                <a:lnTo>
                  <a:pt x="1173" y="306"/>
                </a:lnTo>
                <a:lnTo>
                  <a:pt x="1168" y="306"/>
                </a:lnTo>
                <a:lnTo>
                  <a:pt x="1168" y="312"/>
                </a:lnTo>
                <a:lnTo>
                  <a:pt x="1173" y="312"/>
                </a:lnTo>
                <a:lnTo>
                  <a:pt x="1173" y="317"/>
                </a:lnTo>
                <a:lnTo>
                  <a:pt x="1168" y="317"/>
                </a:lnTo>
                <a:lnTo>
                  <a:pt x="1168" y="323"/>
                </a:lnTo>
                <a:lnTo>
                  <a:pt x="1168" y="329"/>
                </a:lnTo>
                <a:lnTo>
                  <a:pt x="1168" y="323"/>
                </a:lnTo>
                <a:lnTo>
                  <a:pt x="1173" y="323"/>
                </a:lnTo>
                <a:lnTo>
                  <a:pt x="1173" y="317"/>
                </a:lnTo>
                <a:lnTo>
                  <a:pt x="1173" y="323"/>
                </a:lnTo>
                <a:lnTo>
                  <a:pt x="1173" y="317"/>
                </a:lnTo>
                <a:lnTo>
                  <a:pt x="1179" y="317"/>
                </a:lnTo>
                <a:lnTo>
                  <a:pt x="1173" y="317"/>
                </a:lnTo>
                <a:lnTo>
                  <a:pt x="1179" y="317"/>
                </a:lnTo>
                <a:lnTo>
                  <a:pt x="1173" y="317"/>
                </a:lnTo>
                <a:lnTo>
                  <a:pt x="1179" y="317"/>
                </a:lnTo>
                <a:lnTo>
                  <a:pt x="1179" y="312"/>
                </a:lnTo>
                <a:lnTo>
                  <a:pt x="1179" y="306"/>
                </a:lnTo>
                <a:lnTo>
                  <a:pt x="1185" y="306"/>
                </a:lnTo>
                <a:lnTo>
                  <a:pt x="1185" y="300"/>
                </a:lnTo>
                <a:lnTo>
                  <a:pt x="1179" y="300"/>
                </a:lnTo>
                <a:lnTo>
                  <a:pt x="1185" y="300"/>
                </a:lnTo>
                <a:lnTo>
                  <a:pt x="1179" y="300"/>
                </a:lnTo>
                <a:lnTo>
                  <a:pt x="1185" y="300"/>
                </a:lnTo>
                <a:lnTo>
                  <a:pt x="1185" y="295"/>
                </a:lnTo>
                <a:lnTo>
                  <a:pt x="1185" y="289"/>
                </a:lnTo>
                <a:lnTo>
                  <a:pt x="1190" y="289"/>
                </a:lnTo>
                <a:lnTo>
                  <a:pt x="1185" y="289"/>
                </a:lnTo>
                <a:lnTo>
                  <a:pt x="1190" y="283"/>
                </a:lnTo>
                <a:lnTo>
                  <a:pt x="1196" y="283"/>
                </a:lnTo>
                <a:lnTo>
                  <a:pt x="1202" y="283"/>
                </a:lnTo>
                <a:lnTo>
                  <a:pt x="1207" y="283"/>
                </a:lnTo>
                <a:lnTo>
                  <a:pt x="1207" y="278"/>
                </a:lnTo>
                <a:lnTo>
                  <a:pt x="1202" y="278"/>
                </a:lnTo>
                <a:lnTo>
                  <a:pt x="1207" y="278"/>
                </a:lnTo>
                <a:lnTo>
                  <a:pt x="1207" y="272"/>
                </a:lnTo>
                <a:lnTo>
                  <a:pt x="1213" y="272"/>
                </a:lnTo>
                <a:lnTo>
                  <a:pt x="1219" y="272"/>
                </a:lnTo>
                <a:lnTo>
                  <a:pt x="1224" y="278"/>
                </a:lnTo>
                <a:lnTo>
                  <a:pt x="1230" y="278"/>
                </a:lnTo>
                <a:lnTo>
                  <a:pt x="1236" y="278"/>
                </a:lnTo>
                <a:lnTo>
                  <a:pt x="1236" y="283"/>
                </a:lnTo>
                <a:lnTo>
                  <a:pt x="1241" y="283"/>
                </a:lnTo>
                <a:lnTo>
                  <a:pt x="1241" y="289"/>
                </a:lnTo>
                <a:lnTo>
                  <a:pt x="1247" y="289"/>
                </a:lnTo>
                <a:lnTo>
                  <a:pt x="1253" y="289"/>
                </a:lnTo>
                <a:lnTo>
                  <a:pt x="1253" y="295"/>
                </a:lnTo>
                <a:lnTo>
                  <a:pt x="1259" y="295"/>
                </a:lnTo>
                <a:lnTo>
                  <a:pt x="1264" y="295"/>
                </a:lnTo>
                <a:lnTo>
                  <a:pt x="1270" y="295"/>
                </a:lnTo>
                <a:lnTo>
                  <a:pt x="1270" y="300"/>
                </a:lnTo>
                <a:lnTo>
                  <a:pt x="1276" y="300"/>
                </a:lnTo>
                <a:lnTo>
                  <a:pt x="1281" y="300"/>
                </a:lnTo>
                <a:lnTo>
                  <a:pt x="1281" y="306"/>
                </a:lnTo>
                <a:lnTo>
                  <a:pt x="1287" y="306"/>
                </a:lnTo>
                <a:lnTo>
                  <a:pt x="1293" y="306"/>
                </a:lnTo>
                <a:lnTo>
                  <a:pt x="1293" y="312"/>
                </a:lnTo>
                <a:lnTo>
                  <a:pt x="1298" y="312"/>
                </a:lnTo>
                <a:lnTo>
                  <a:pt x="1298" y="317"/>
                </a:lnTo>
                <a:lnTo>
                  <a:pt x="1298" y="323"/>
                </a:lnTo>
                <a:lnTo>
                  <a:pt x="1304" y="323"/>
                </a:lnTo>
                <a:lnTo>
                  <a:pt x="1304" y="329"/>
                </a:lnTo>
                <a:lnTo>
                  <a:pt x="1310" y="329"/>
                </a:lnTo>
                <a:lnTo>
                  <a:pt x="1315" y="329"/>
                </a:lnTo>
                <a:lnTo>
                  <a:pt x="1321" y="329"/>
                </a:lnTo>
                <a:lnTo>
                  <a:pt x="1327" y="329"/>
                </a:lnTo>
                <a:lnTo>
                  <a:pt x="1332" y="329"/>
                </a:lnTo>
                <a:lnTo>
                  <a:pt x="1332" y="323"/>
                </a:lnTo>
                <a:lnTo>
                  <a:pt x="1338" y="323"/>
                </a:lnTo>
                <a:lnTo>
                  <a:pt x="1344" y="323"/>
                </a:lnTo>
                <a:lnTo>
                  <a:pt x="1344" y="317"/>
                </a:lnTo>
                <a:lnTo>
                  <a:pt x="1349" y="312"/>
                </a:lnTo>
                <a:lnTo>
                  <a:pt x="1349" y="306"/>
                </a:lnTo>
                <a:lnTo>
                  <a:pt x="1355" y="306"/>
                </a:lnTo>
                <a:lnTo>
                  <a:pt x="1361" y="306"/>
                </a:lnTo>
                <a:lnTo>
                  <a:pt x="1361" y="300"/>
                </a:lnTo>
                <a:lnTo>
                  <a:pt x="1366" y="300"/>
                </a:lnTo>
                <a:lnTo>
                  <a:pt x="1366" y="295"/>
                </a:lnTo>
                <a:lnTo>
                  <a:pt x="1372" y="295"/>
                </a:lnTo>
                <a:lnTo>
                  <a:pt x="1378" y="295"/>
                </a:lnTo>
                <a:lnTo>
                  <a:pt x="1383" y="295"/>
                </a:lnTo>
                <a:lnTo>
                  <a:pt x="1389" y="295"/>
                </a:lnTo>
                <a:lnTo>
                  <a:pt x="1395" y="295"/>
                </a:lnTo>
                <a:lnTo>
                  <a:pt x="1389" y="295"/>
                </a:lnTo>
                <a:lnTo>
                  <a:pt x="1389" y="300"/>
                </a:lnTo>
                <a:lnTo>
                  <a:pt x="1389" y="295"/>
                </a:lnTo>
                <a:lnTo>
                  <a:pt x="1389" y="300"/>
                </a:lnTo>
                <a:lnTo>
                  <a:pt x="1383" y="300"/>
                </a:lnTo>
                <a:lnTo>
                  <a:pt x="1383" y="295"/>
                </a:lnTo>
                <a:lnTo>
                  <a:pt x="1383" y="300"/>
                </a:lnTo>
                <a:lnTo>
                  <a:pt x="1389" y="300"/>
                </a:lnTo>
                <a:lnTo>
                  <a:pt x="1395" y="300"/>
                </a:lnTo>
                <a:lnTo>
                  <a:pt x="1400" y="300"/>
                </a:lnTo>
                <a:lnTo>
                  <a:pt x="1406" y="300"/>
                </a:lnTo>
                <a:lnTo>
                  <a:pt x="1406" y="295"/>
                </a:lnTo>
                <a:lnTo>
                  <a:pt x="1406" y="289"/>
                </a:lnTo>
                <a:lnTo>
                  <a:pt x="1412" y="289"/>
                </a:lnTo>
                <a:lnTo>
                  <a:pt x="1412" y="295"/>
                </a:lnTo>
                <a:lnTo>
                  <a:pt x="1412" y="289"/>
                </a:lnTo>
                <a:lnTo>
                  <a:pt x="1417" y="289"/>
                </a:lnTo>
                <a:lnTo>
                  <a:pt x="1417" y="295"/>
                </a:lnTo>
                <a:lnTo>
                  <a:pt x="1417" y="300"/>
                </a:lnTo>
                <a:lnTo>
                  <a:pt x="1412" y="300"/>
                </a:lnTo>
                <a:lnTo>
                  <a:pt x="1412" y="306"/>
                </a:lnTo>
                <a:lnTo>
                  <a:pt x="1406" y="306"/>
                </a:lnTo>
                <a:lnTo>
                  <a:pt x="1400" y="306"/>
                </a:lnTo>
                <a:lnTo>
                  <a:pt x="1400" y="312"/>
                </a:lnTo>
                <a:lnTo>
                  <a:pt x="1406" y="312"/>
                </a:lnTo>
                <a:lnTo>
                  <a:pt x="1406" y="317"/>
                </a:lnTo>
                <a:lnTo>
                  <a:pt x="1406" y="323"/>
                </a:lnTo>
                <a:lnTo>
                  <a:pt x="1406" y="329"/>
                </a:lnTo>
                <a:lnTo>
                  <a:pt x="1406" y="334"/>
                </a:lnTo>
                <a:lnTo>
                  <a:pt x="1406" y="340"/>
                </a:lnTo>
                <a:lnTo>
                  <a:pt x="1406" y="346"/>
                </a:lnTo>
                <a:lnTo>
                  <a:pt x="1406" y="351"/>
                </a:lnTo>
                <a:lnTo>
                  <a:pt x="1406" y="357"/>
                </a:lnTo>
                <a:lnTo>
                  <a:pt x="1412" y="363"/>
                </a:lnTo>
                <a:lnTo>
                  <a:pt x="1412" y="368"/>
                </a:lnTo>
                <a:lnTo>
                  <a:pt x="1412" y="374"/>
                </a:lnTo>
                <a:lnTo>
                  <a:pt x="1406" y="374"/>
                </a:lnTo>
                <a:lnTo>
                  <a:pt x="1406" y="380"/>
                </a:lnTo>
                <a:lnTo>
                  <a:pt x="1400" y="380"/>
                </a:lnTo>
                <a:lnTo>
                  <a:pt x="1400" y="385"/>
                </a:lnTo>
                <a:lnTo>
                  <a:pt x="1395" y="385"/>
                </a:lnTo>
                <a:lnTo>
                  <a:pt x="1395" y="391"/>
                </a:lnTo>
                <a:lnTo>
                  <a:pt x="1389" y="391"/>
                </a:lnTo>
                <a:lnTo>
                  <a:pt x="1383" y="391"/>
                </a:lnTo>
                <a:lnTo>
                  <a:pt x="1383" y="397"/>
                </a:lnTo>
                <a:lnTo>
                  <a:pt x="1378" y="397"/>
                </a:lnTo>
                <a:lnTo>
                  <a:pt x="1378" y="402"/>
                </a:lnTo>
                <a:lnTo>
                  <a:pt x="1372" y="402"/>
                </a:lnTo>
                <a:lnTo>
                  <a:pt x="1372" y="408"/>
                </a:lnTo>
                <a:lnTo>
                  <a:pt x="1366" y="408"/>
                </a:lnTo>
                <a:lnTo>
                  <a:pt x="1366" y="414"/>
                </a:lnTo>
                <a:lnTo>
                  <a:pt x="1361" y="414"/>
                </a:lnTo>
                <a:lnTo>
                  <a:pt x="1361" y="419"/>
                </a:lnTo>
                <a:lnTo>
                  <a:pt x="1361" y="425"/>
                </a:lnTo>
                <a:lnTo>
                  <a:pt x="1355" y="425"/>
                </a:lnTo>
                <a:lnTo>
                  <a:pt x="1349" y="425"/>
                </a:lnTo>
                <a:lnTo>
                  <a:pt x="1344" y="425"/>
                </a:lnTo>
                <a:lnTo>
                  <a:pt x="1338" y="419"/>
                </a:lnTo>
                <a:lnTo>
                  <a:pt x="1338" y="414"/>
                </a:lnTo>
                <a:lnTo>
                  <a:pt x="1338" y="419"/>
                </a:lnTo>
                <a:lnTo>
                  <a:pt x="1338" y="425"/>
                </a:lnTo>
                <a:lnTo>
                  <a:pt x="1338" y="431"/>
                </a:lnTo>
                <a:lnTo>
                  <a:pt x="1332" y="431"/>
                </a:lnTo>
                <a:lnTo>
                  <a:pt x="1332" y="436"/>
                </a:lnTo>
                <a:lnTo>
                  <a:pt x="1327" y="436"/>
                </a:lnTo>
                <a:lnTo>
                  <a:pt x="1327" y="442"/>
                </a:lnTo>
                <a:lnTo>
                  <a:pt x="1327" y="448"/>
                </a:lnTo>
                <a:lnTo>
                  <a:pt x="1327" y="453"/>
                </a:lnTo>
                <a:lnTo>
                  <a:pt x="1332" y="459"/>
                </a:lnTo>
                <a:lnTo>
                  <a:pt x="1332" y="465"/>
                </a:lnTo>
                <a:lnTo>
                  <a:pt x="1338" y="465"/>
                </a:lnTo>
                <a:lnTo>
                  <a:pt x="1344" y="465"/>
                </a:lnTo>
                <a:lnTo>
                  <a:pt x="1349" y="465"/>
                </a:lnTo>
                <a:lnTo>
                  <a:pt x="1355" y="465"/>
                </a:lnTo>
                <a:lnTo>
                  <a:pt x="1355" y="470"/>
                </a:lnTo>
                <a:lnTo>
                  <a:pt x="1361" y="470"/>
                </a:lnTo>
                <a:lnTo>
                  <a:pt x="1361" y="476"/>
                </a:lnTo>
                <a:lnTo>
                  <a:pt x="1361" y="482"/>
                </a:lnTo>
                <a:lnTo>
                  <a:pt x="1355" y="482"/>
                </a:lnTo>
                <a:lnTo>
                  <a:pt x="1349" y="482"/>
                </a:lnTo>
                <a:lnTo>
                  <a:pt x="1355" y="487"/>
                </a:lnTo>
                <a:lnTo>
                  <a:pt x="1355" y="493"/>
                </a:lnTo>
                <a:lnTo>
                  <a:pt x="1355" y="499"/>
                </a:lnTo>
                <a:lnTo>
                  <a:pt x="1349" y="499"/>
                </a:lnTo>
                <a:lnTo>
                  <a:pt x="1349" y="504"/>
                </a:lnTo>
                <a:lnTo>
                  <a:pt x="1344" y="504"/>
                </a:lnTo>
                <a:lnTo>
                  <a:pt x="1344" y="510"/>
                </a:lnTo>
                <a:lnTo>
                  <a:pt x="1338" y="510"/>
                </a:lnTo>
                <a:lnTo>
                  <a:pt x="1338" y="504"/>
                </a:lnTo>
                <a:lnTo>
                  <a:pt x="1338" y="510"/>
                </a:lnTo>
                <a:lnTo>
                  <a:pt x="1332" y="504"/>
                </a:lnTo>
                <a:lnTo>
                  <a:pt x="1332" y="510"/>
                </a:lnTo>
                <a:lnTo>
                  <a:pt x="1332" y="504"/>
                </a:lnTo>
                <a:lnTo>
                  <a:pt x="1327" y="504"/>
                </a:lnTo>
                <a:lnTo>
                  <a:pt x="1332" y="510"/>
                </a:lnTo>
                <a:lnTo>
                  <a:pt x="1327" y="510"/>
                </a:lnTo>
                <a:lnTo>
                  <a:pt x="1332" y="510"/>
                </a:lnTo>
                <a:lnTo>
                  <a:pt x="1338" y="510"/>
                </a:lnTo>
                <a:lnTo>
                  <a:pt x="1344" y="510"/>
                </a:lnTo>
                <a:lnTo>
                  <a:pt x="1349" y="504"/>
                </a:lnTo>
                <a:lnTo>
                  <a:pt x="1349" y="510"/>
                </a:lnTo>
                <a:lnTo>
                  <a:pt x="1349" y="504"/>
                </a:lnTo>
                <a:lnTo>
                  <a:pt x="1355" y="504"/>
                </a:lnTo>
                <a:lnTo>
                  <a:pt x="1355" y="499"/>
                </a:lnTo>
                <a:lnTo>
                  <a:pt x="1361" y="493"/>
                </a:lnTo>
                <a:lnTo>
                  <a:pt x="1361" y="499"/>
                </a:lnTo>
                <a:lnTo>
                  <a:pt x="1366" y="499"/>
                </a:lnTo>
                <a:lnTo>
                  <a:pt x="1366" y="504"/>
                </a:lnTo>
                <a:lnTo>
                  <a:pt x="1372" y="504"/>
                </a:lnTo>
                <a:lnTo>
                  <a:pt x="1378" y="504"/>
                </a:lnTo>
                <a:lnTo>
                  <a:pt x="1378" y="499"/>
                </a:lnTo>
                <a:lnTo>
                  <a:pt x="1378" y="504"/>
                </a:lnTo>
                <a:lnTo>
                  <a:pt x="1383" y="504"/>
                </a:lnTo>
                <a:lnTo>
                  <a:pt x="1383" y="499"/>
                </a:lnTo>
                <a:lnTo>
                  <a:pt x="1378" y="499"/>
                </a:lnTo>
                <a:lnTo>
                  <a:pt x="1372" y="499"/>
                </a:lnTo>
                <a:lnTo>
                  <a:pt x="1372" y="493"/>
                </a:lnTo>
                <a:lnTo>
                  <a:pt x="1366" y="493"/>
                </a:lnTo>
                <a:lnTo>
                  <a:pt x="1361" y="493"/>
                </a:lnTo>
                <a:lnTo>
                  <a:pt x="1361" y="487"/>
                </a:lnTo>
                <a:lnTo>
                  <a:pt x="1366" y="487"/>
                </a:lnTo>
                <a:lnTo>
                  <a:pt x="1366" y="482"/>
                </a:lnTo>
                <a:lnTo>
                  <a:pt x="1361" y="482"/>
                </a:lnTo>
                <a:lnTo>
                  <a:pt x="1361" y="487"/>
                </a:lnTo>
                <a:lnTo>
                  <a:pt x="1355" y="487"/>
                </a:lnTo>
                <a:lnTo>
                  <a:pt x="1355" y="482"/>
                </a:lnTo>
                <a:lnTo>
                  <a:pt x="1361" y="482"/>
                </a:lnTo>
                <a:lnTo>
                  <a:pt x="1366" y="482"/>
                </a:lnTo>
                <a:lnTo>
                  <a:pt x="1366" y="476"/>
                </a:lnTo>
                <a:lnTo>
                  <a:pt x="1372" y="476"/>
                </a:lnTo>
                <a:lnTo>
                  <a:pt x="1378" y="476"/>
                </a:lnTo>
                <a:lnTo>
                  <a:pt x="1378" y="470"/>
                </a:lnTo>
                <a:lnTo>
                  <a:pt x="1383" y="470"/>
                </a:lnTo>
                <a:lnTo>
                  <a:pt x="1383" y="465"/>
                </a:lnTo>
                <a:lnTo>
                  <a:pt x="1389" y="465"/>
                </a:lnTo>
                <a:lnTo>
                  <a:pt x="1395" y="465"/>
                </a:lnTo>
                <a:lnTo>
                  <a:pt x="1395" y="459"/>
                </a:lnTo>
                <a:lnTo>
                  <a:pt x="1400" y="459"/>
                </a:lnTo>
                <a:lnTo>
                  <a:pt x="1406" y="459"/>
                </a:lnTo>
                <a:lnTo>
                  <a:pt x="1412" y="459"/>
                </a:lnTo>
                <a:lnTo>
                  <a:pt x="1412" y="453"/>
                </a:lnTo>
                <a:lnTo>
                  <a:pt x="1417" y="453"/>
                </a:lnTo>
                <a:lnTo>
                  <a:pt x="1417" y="459"/>
                </a:lnTo>
                <a:lnTo>
                  <a:pt x="1423" y="459"/>
                </a:lnTo>
                <a:lnTo>
                  <a:pt x="1429" y="459"/>
                </a:lnTo>
                <a:lnTo>
                  <a:pt x="1429" y="453"/>
                </a:lnTo>
                <a:lnTo>
                  <a:pt x="1434" y="453"/>
                </a:lnTo>
                <a:lnTo>
                  <a:pt x="1434" y="459"/>
                </a:lnTo>
                <a:lnTo>
                  <a:pt x="1440" y="459"/>
                </a:lnTo>
                <a:lnTo>
                  <a:pt x="1440" y="465"/>
                </a:lnTo>
                <a:lnTo>
                  <a:pt x="1446" y="465"/>
                </a:lnTo>
                <a:lnTo>
                  <a:pt x="1446" y="470"/>
                </a:lnTo>
                <a:lnTo>
                  <a:pt x="1451" y="470"/>
                </a:lnTo>
                <a:lnTo>
                  <a:pt x="1451" y="465"/>
                </a:lnTo>
                <a:lnTo>
                  <a:pt x="1457" y="465"/>
                </a:lnTo>
                <a:lnTo>
                  <a:pt x="1457" y="470"/>
                </a:lnTo>
                <a:lnTo>
                  <a:pt x="1451" y="470"/>
                </a:lnTo>
                <a:lnTo>
                  <a:pt x="1451" y="476"/>
                </a:lnTo>
                <a:lnTo>
                  <a:pt x="1451" y="482"/>
                </a:lnTo>
                <a:lnTo>
                  <a:pt x="1451" y="487"/>
                </a:lnTo>
                <a:lnTo>
                  <a:pt x="1457" y="487"/>
                </a:lnTo>
                <a:lnTo>
                  <a:pt x="1457" y="493"/>
                </a:lnTo>
                <a:lnTo>
                  <a:pt x="1463" y="493"/>
                </a:lnTo>
                <a:lnTo>
                  <a:pt x="1463" y="487"/>
                </a:lnTo>
                <a:lnTo>
                  <a:pt x="1468" y="487"/>
                </a:lnTo>
                <a:lnTo>
                  <a:pt x="1468" y="482"/>
                </a:lnTo>
                <a:lnTo>
                  <a:pt x="1474" y="482"/>
                </a:lnTo>
                <a:lnTo>
                  <a:pt x="1474" y="476"/>
                </a:lnTo>
                <a:lnTo>
                  <a:pt x="1474" y="482"/>
                </a:lnTo>
                <a:lnTo>
                  <a:pt x="1480" y="482"/>
                </a:lnTo>
                <a:lnTo>
                  <a:pt x="1480" y="487"/>
                </a:lnTo>
                <a:lnTo>
                  <a:pt x="1485" y="487"/>
                </a:lnTo>
                <a:lnTo>
                  <a:pt x="1491" y="487"/>
                </a:lnTo>
                <a:lnTo>
                  <a:pt x="1491" y="493"/>
                </a:lnTo>
                <a:lnTo>
                  <a:pt x="1497" y="493"/>
                </a:lnTo>
                <a:lnTo>
                  <a:pt x="1497" y="499"/>
                </a:lnTo>
                <a:lnTo>
                  <a:pt x="1502" y="499"/>
                </a:lnTo>
                <a:lnTo>
                  <a:pt x="1502" y="504"/>
                </a:lnTo>
                <a:lnTo>
                  <a:pt x="1508" y="504"/>
                </a:lnTo>
                <a:lnTo>
                  <a:pt x="1502" y="504"/>
                </a:lnTo>
                <a:lnTo>
                  <a:pt x="1508" y="504"/>
                </a:lnTo>
                <a:lnTo>
                  <a:pt x="1502" y="504"/>
                </a:lnTo>
                <a:lnTo>
                  <a:pt x="1502" y="499"/>
                </a:lnTo>
                <a:lnTo>
                  <a:pt x="1508" y="499"/>
                </a:lnTo>
                <a:lnTo>
                  <a:pt x="1508" y="493"/>
                </a:lnTo>
                <a:lnTo>
                  <a:pt x="1514" y="493"/>
                </a:lnTo>
                <a:lnTo>
                  <a:pt x="1514" y="487"/>
                </a:lnTo>
                <a:lnTo>
                  <a:pt x="1514" y="482"/>
                </a:lnTo>
                <a:lnTo>
                  <a:pt x="1514" y="476"/>
                </a:lnTo>
                <a:lnTo>
                  <a:pt x="1514" y="470"/>
                </a:lnTo>
                <a:lnTo>
                  <a:pt x="1514" y="476"/>
                </a:lnTo>
                <a:lnTo>
                  <a:pt x="1514" y="470"/>
                </a:lnTo>
                <a:lnTo>
                  <a:pt x="1508" y="470"/>
                </a:lnTo>
                <a:lnTo>
                  <a:pt x="1514" y="476"/>
                </a:lnTo>
                <a:lnTo>
                  <a:pt x="1508" y="476"/>
                </a:lnTo>
                <a:lnTo>
                  <a:pt x="1508" y="470"/>
                </a:lnTo>
                <a:lnTo>
                  <a:pt x="1514" y="470"/>
                </a:lnTo>
                <a:lnTo>
                  <a:pt x="1514" y="476"/>
                </a:lnTo>
                <a:lnTo>
                  <a:pt x="1514" y="470"/>
                </a:lnTo>
                <a:lnTo>
                  <a:pt x="1514" y="465"/>
                </a:lnTo>
                <a:lnTo>
                  <a:pt x="1514" y="459"/>
                </a:lnTo>
                <a:lnTo>
                  <a:pt x="1519" y="459"/>
                </a:lnTo>
                <a:lnTo>
                  <a:pt x="1519" y="453"/>
                </a:lnTo>
                <a:lnTo>
                  <a:pt x="1525" y="453"/>
                </a:lnTo>
                <a:lnTo>
                  <a:pt x="1525" y="448"/>
                </a:lnTo>
                <a:lnTo>
                  <a:pt x="1519" y="448"/>
                </a:lnTo>
                <a:lnTo>
                  <a:pt x="1519" y="442"/>
                </a:lnTo>
                <a:lnTo>
                  <a:pt x="1525" y="442"/>
                </a:lnTo>
                <a:lnTo>
                  <a:pt x="1525" y="448"/>
                </a:lnTo>
                <a:lnTo>
                  <a:pt x="1531" y="448"/>
                </a:lnTo>
                <a:lnTo>
                  <a:pt x="1536" y="448"/>
                </a:lnTo>
                <a:lnTo>
                  <a:pt x="1536" y="442"/>
                </a:lnTo>
                <a:lnTo>
                  <a:pt x="1536" y="436"/>
                </a:lnTo>
                <a:lnTo>
                  <a:pt x="1536" y="431"/>
                </a:lnTo>
                <a:lnTo>
                  <a:pt x="1542" y="431"/>
                </a:lnTo>
                <a:lnTo>
                  <a:pt x="1542" y="425"/>
                </a:lnTo>
                <a:lnTo>
                  <a:pt x="1548" y="425"/>
                </a:lnTo>
                <a:lnTo>
                  <a:pt x="1548" y="419"/>
                </a:lnTo>
                <a:lnTo>
                  <a:pt x="1548" y="414"/>
                </a:lnTo>
                <a:lnTo>
                  <a:pt x="1542" y="414"/>
                </a:lnTo>
                <a:lnTo>
                  <a:pt x="1542" y="419"/>
                </a:lnTo>
                <a:lnTo>
                  <a:pt x="1536" y="419"/>
                </a:lnTo>
                <a:lnTo>
                  <a:pt x="1536" y="425"/>
                </a:lnTo>
                <a:lnTo>
                  <a:pt x="1531" y="425"/>
                </a:lnTo>
                <a:lnTo>
                  <a:pt x="1531" y="431"/>
                </a:lnTo>
                <a:lnTo>
                  <a:pt x="1525" y="431"/>
                </a:lnTo>
                <a:lnTo>
                  <a:pt x="1525" y="436"/>
                </a:lnTo>
                <a:lnTo>
                  <a:pt x="1525" y="431"/>
                </a:lnTo>
                <a:lnTo>
                  <a:pt x="1525" y="425"/>
                </a:lnTo>
                <a:lnTo>
                  <a:pt x="1525" y="431"/>
                </a:lnTo>
                <a:lnTo>
                  <a:pt x="1519" y="431"/>
                </a:lnTo>
                <a:lnTo>
                  <a:pt x="1519" y="436"/>
                </a:lnTo>
                <a:lnTo>
                  <a:pt x="1519" y="442"/>
                </a:lnTo>
                <a:lnTo>
                  <a:pt x="1519" y="436"/>
                </a:lnTo>
                <a:lnTo>
                  <a:pt x="1519" y="431"/>
                </a:lnTo>
                <a:lnTo>
                  <a:pt x="1525" y="425"/>
                </a:lnTo>
                <a:lnTo>
                  <a:pt x="1525" y="419"/>
                </a:lnTo>
                <a:lnTo>
                  <a:pt x="1531" y="419"/>
                </a:lnTo>
                <a:lnTo>
                  <a:pt x="1531" y="414"/>
                </a:lnTo>
                <a:lnTo>
                  <a:pt x="1536" y="414"/>
                </a:lnTo>
                <a:lnTo>
                  <a:pt x="1542" y="414"/>
                </a:lnTo>
                <a:lnTo>
                  <a:pt x="1548" y="408"/>
                </a:lnTo>
                <a:lnTo>
                  <a:pt x="1548" y="402"/>
                </a:lnTo>
                <a:lnTo>
                  <a:pt x="1553" y="402"/>
                </a:lnTo>
                <a:lnTo>
                  <a:pt x="1553" y="397"/>
                </a:lnTo>
                <a:lnTo>
                  <a:pt x="1559" y="397"/>
                </a:lnTo>
                <a:lnTo>
                  <a:pt x="1559" y="391"/>
                </a:lnTo>
                <a:lnTo>
                  <a:pt x="1565" y="391"/>
                </a:lnTo>
                <a:lnTo>
                  <a:pt x="1570" y="391"/>
                </a:lnTo>
                <a:lnTo>
                  <a:pt x="1576" y="391"/>
                </a:lnTo>
                <a:lnTo>
                  <a:pt x="1582" y="391"/>
                </a:lnTo>
                <a:lnTo>
                  <a:pt x="1587" y="391"/>
                </a:lnTo>
                <a:lnTo>
                  <a:pt x="1593" y="397"/>
                </a:lnTo>
                <a:lnTo>
                  <a:pt x="1599" y="397"/>
                </a:lnTo>
                <a:lnTo>
                  <a:pt x="1604" y="397"/>
                </a:lnTo>
                <a:lnTo>
                  <a:pt x="1604" y="391"/>
                </a:lnTo>
                <a:lnTo>
                  <a:pt x="1610" y="391"/>
                </a:lnTo>
                <a:lnTo>
                  <a:pt x="1616" y="391"/>
                </a:lnTo>
                <a:lnTo>
                  <a:pt x="1621" y="391"/>
                </a:lnTo>
                <a:lnTo>
                  <a:pt x="1621" y="385"/>
                </a:lnTo>
                <a:lnTo>
                  <a:pt x="1627" y="385"/>
                </a:lnTo>
                <a:lnTo>
                  <a:pt x="1633" y="385"/>
                </a:lnTo>
                <a:lnTo>
                  <a:pt x="1638" y="380"/>
                </a:lnTo>
                <a:lnTo>
                  <a:pt x="1644" y="380"/>
                </a:lnTo>
                <a:lnTo>
                  <a:pt x="1650" y="380"/>
                </a:lnTo>
                <a:lnTo>
                  <a:pt x="1655" y="380"/>
                </a:lnTo>
                <a:lnTo>
                  <a:pt x="1661" y="380"/>
                </a:lnTo>
                <a:lnTo>
                  <a:pt x="1661" y="374"/>
                </a:lnTo>
                <a:lnTo>
                  <a:pt x="1667" y="374"/>
                </a:lnTo>
                <a:lnTo>
                  <a:pt x="1667" y="380"/>
                </a:lnTo>
                <a:lnTo>
                  <a:pt x="1667" y="385"/>
                </a:lnTo>
                <a:lnTo>
                  <a:pt x="1667" y="391"/>
                </a:lnTo>
                <a:lnTo>
                  <a:pt x="1661" y="391"/>
                </a:lnTo>
                <a:lnTo>
                  <a:pt x="1667" y="391"/>
                </a:lnTo>
                <a:lnTo>
                  <a:pt x="1667" y="397"/>
                </a:lnTo>
                <a:lnTo>
                  <a:pt x="1667" y="402"/>
                </a:lnTo>
                <a:lnTo>
                  <a:pt x="1667" y="408"/>
                </a:lnTo>
                <a:lnTo>
                  <a:pt x="1667" y="414"/>
                </a:lnTo>
                <a:lnTo>
                  <a:pt x="1672" y="414"/>
                </a:lnTo>
                <a:lnTo>
                  <a:pt x="1678" y="414"/>
                </a:lnTo>
                <a:lnTo>
                  <a:pt x="1672" y="414"/>
                </a:lnTo>
                <a:lnTo>
                  <a:pt x="1678" y="414"/>
                </a:lnTo>
                <a:lnTo>
                  <a:pt x="1684" y="414"/>
                </a:lnTo>
                <a:lnTo>
                  <a:pt x="1684" y="419"/>
                </a:lnTo>
                <a:lnTo>
                  <a:pt x="1684" y="414"/>
                </a:lnTo>
                <a:lnTo>
                  <a:pt x="1678" y="414"/>
                </a:lnTo>
                <a:lnTo>
                  <a:pt x="1672" y="414"/>
                </a:lnTo>
                <a:lnTo>
                  <a:pt x="1672" y="408"/>
                </a:lnTo>
                <a:lnTo>
                  <a:pt x="1667" y="408"/>
                </a:lnTo>
                <a:lnTo>
                  <a:pt x="1667" y="402"/>
                </a:lnTo>
                <a:lnTo>
                  <a:pt x="1667" y="397"/>
                </a:lnTo>
                <a:lnTo>
                  <a:pt x="1667" y="391"/>
                </a:lnTo>
                <a:lnTo>
                  <a:pt x="1667" y="385"/>
                </a:lnTo>
                <a:lnTo>
                  <a:pt x="1672" y="391"/>
                </a:lnTo>
                <a:lnTo>
                  <a:pt x="1672" y="385"/>
                </a:lnTo>
                <a:lnTo>
                  <a:pt x="1672" y="391"/>
                </a:lnTo>
                <a:lnTo>
                  <a:pt x="1672" y="385"/>
                </a:lnTo>
                <a:lnTo>
                  <a:pt x="1672" y="391"/>
                </a:lnTo>
                <a:lnTo>
                  <a:pt x="1672" y="385"/>
                </a:lnTo>
                <a:lnTo>
                  <a:pt x="1678" y="385"/>
                </a:lnTo>
                <a:lnTo>
                  <a:pt x="1678" y="380"/>
                </a:lnTo>
                <a:lnTo>
                  <a:pt x="1672" y="380"/>
                </a:lnTo>
                <a:lnTo>
                  <a:pt x="1667" y="380"/>
                </a:lnTo>
                <a:lnTo>
                  <a:pt x="1667" y="374"/>
                </a:lnTo>
                <a:lnTo>
                  <a:pt x="1667" y="380"/>
                </a:lnTo>
                <a:lnTo>
                  <a:pt x="1672" y="380"/>
                </a:lnTo>
                <a:lnTo>
                  <a:pt x="1672" y="374"/>
                </a:lnTo>
                <a:lnTo>
                  <a:pt x="1678" y="374"/>
                </a:lnTo>
                <a:lnTo>
                  <a:pt x="1678" y="368"/>
                </a:lnTo>
                <a:lnTo>
                  <a:pt x="1684" y="363"/>
                </a:lnTo>
                <a:lnTo>
                  <a:pt x="1684" y="357"/>
                </a:lnTo>
                <a:lnTo>
                  <a:pt x="1689" y="351"/>
                </a:lnTo>
                <a:lnTo>
                  <a:pt x="1695" y="346"/>
                </a:lnTo>
                <a:lnTo>
                  <a:pt x="1701" y="346"/>
                </a:lnTo>
                <a:lnTo>
                  <a:pt x="1701" y="340"/>
                </a:lnTo>
                <a:lnTo>
                  <a:pt x="1706" y="340"/>
                </a:lnTo>
                <a:lnTo>
                  <a:pt x="1712" y="334"/>
                </a:lnTo>
                <a:lnTo>
                  <a:pt x="1718" y="334"/>
                </a:lnTo>
                <a:lnTo>
                  <a:pt x="1718" y="329"/>
                </a:lnTo>
                <a:lnTo>
                  <a:pt x="1723" y="329"/>
                </a:lnTo>
                <a:lnTo>
                  <a:pt x="1723" y="323"/>
                </a:lnTo>
                <a:lnTo>
                  <a:pt x="1729" y="323"/>
                </a:lnTo>
                <a:lnTo>
                  <a:pt x="1729" y="317"/>
                </a:lnTo>
                <a:lnTo>
                  <a:pt x="1729" y="312"/>
                </a:lnTo>
                <a:lnTo>
                  <a:pt x="1735" y="312"/>
                </a:lnTo>
                <a:lnTo>
                  <a:pt x="1735" y="306"/>
                </a:lnTo>
                <a:lnTo>
                  <a:pt x="1735" y="300"/>
                </a:lnTo>
                <a:lnTo>
                  <a:pt x="1740" y="300"/>
                </a:lnTo>
                <a:lnTo>
                  <a:pt x="1740" y="295"/>
                </a:lnTo>
                <a:lnTo>
                  <a:pt x="1740" y="289"/>
                </a:lnTo>
                <a:lnTo>
                  <a:pt x="1746" y="289"/>
                </a:lnTo>
                <a:lnTo>
                  <a:pt x="1746" y="283"/>
                </a:lnTo>
                <a:lnTo>
                  <a:pt x="1752" y="283"/>
                </a:lnTo>
                <a:lnTo>
                  <a:pt x="1752" y="278"/>
                </a:lnTo>
                <a:lnTo>
                  <a:pt x="1757" y="272"/>
                </a:lnTo>
                <a:lnTo>
                  <a:pt x="1757" y="266"/>
                </a:lnTo>
                <a:lnTo>
                  <a:pt x="1757" y="261"/>
                </a:lnTo>
                <a:lnTo>
                  <a:pt x="1763" y="255"/>
                </a:lnTo>
                <a:lnTo>
                  <a:pt x="1763" y="249"/>
                </a:lnTo>
                <a:lnTo>
                  <a:pt x="1763" y="244"/>
                </a:lnTo>
                <a:lnTo>
                  <a:pt x="1769" y="244"/>
                </a:lnTo>
                <a:lnTo>
                  <a:pt x="1774" y="244"/>
                </a:lnTo>
                <a:lnTo>
                  <a:pt x="1774" y="238"/>
                </a:lnTo>
                <a:lnTo>
                  <a:pt x="1774" y="244"/>
                </a:lnTo>
                <a:lnTo>
                  <a:pt x="1769" y="244"/>
                </a:lnTo>
                <a:lnTo>
                  <a:pt x="1769" y="249"/>
                </a:lnTo>
                <a:lnTo>
                  <a:pt x="1774" y="249"/>
                </a:lnTo>
                <a:lnTo>
                  <a:pt x="1780" y="255"/>
                </a:lnTo>
                <a:lnTo>
                  <a:pt x="1786" y="255"/>
                </a:lnTo>
                <a:lnTo>
                  <a:pt x="1791" y="255"/>
                </a:lnTo>
                <a:lnTo>
                  <a:pt x="1797" y="255"/>
                </a:lnTo>
                <a:lnTo>
                  <a:pt x="1803" y="255"/>
                </a:lnTo>
                <a:lnTo>
                  <a:pt x="1808" y="261"/>
                </a:lnTo>
                <a:lnTo>
                  <a:pt x="1814" y="261"/>
                </a:lnTo>
                <a:lnTo>
                  <a:pt x="1820" y="255"/>
                </a:lnTo>
                <a:lnTo>
                  <a:pt x="1825" y="255"/>
                </a:lnTo>
                <a:lnTo>
                  <a:pt x="1825" y="261"/>
                </a:lnTo>
                <a:lnTo>
                  <a:pt x="1825" y="255"/>
                </a:lnTo>
                <a:lnTo>
                  <a:pt x="1831" y="255"/>
                </a:lnTo>
                <a:lnTo>
                  <a:pt x="1837" y="255"/>
                </a:lnTo>
                <a:lnTo>
                  <a:pt x="1842" y="255"/>
                </a:lnTo>
                <a:lnTo>
                  <a:pt x="1848" y="255"/>
                </a:lnTo>
                <a:lnTo>
                  <a:pt x="1854" y="255"/>
                </a:lnTo>
                <a:lnTo>
                  <a:pt x="1859" y="255"/>
                </a:lnTo>
                <a:lnTo>
                  <a:pt x="1865" y="255"/>
                </a:lnTo>
                <a:lnTo>
                  <a:pt x="1871" y="255"/>
                </a:lnTo>
                <a:lnTo>
                  <a:pt x="1876" y="255"/>
                </a:lnTo>
                <a:lnTo>
                  <a:pt x="1882" y="255"/>
                </a:lnTo>
                <a:lnTo>
                  <a:pt x="1876" y="255"/>
                </a:lnTo>
                <a:lnTo>
                  <a:pt x="1876" y="261"/>
                </a:lnTo>
                <a:lnTo>
                  <a:pt x="1871" y="261"/>
                </a:lnTo>
                <a:lnTo>
                  <a:pt x="1871" y="255"/>
                </a:lnTo>
                <a:lnTo>
                  <a:pt x="1876" y="255"/>
                </a:lnTo>
                <a:lnTo>
                  <a:pt x="1871" y="255"/>
                </a:lnTo>
                <a:lnTo>
                  <a:pt x="1871" y="261"/>
                </a:lnTo>
                <a:lnTo>
                  <a:pt x="1871" y="266"/>
                </a:lnTo>
                <a:lnTo>
                  <a:pt x="1865" y="266"/>
                </a:lnTo>
                <a:lnTo>
                  <a:pt x="1859" y="266"/>
                </a:lnTo>
                <a:lnTo>
                  <a:pt x="1854" y="266"/>
                </a:lnTo>
                <a:lnTo>
                  <a:pt x="1848" y="266"/>
                </a:lnTo>
                <a:lnTo>
                  <a:pt x="1842" y="266"/>
                </a:lnTo>
                <a:lnTo>
                  <a:pt x="1842" y="272"/>
                </a:lnTo>
                <a:lnTo>
                  <a:pt x="1842" y="266"/>
                </a:lnTo>
                <a:lnTo>
                  <a:pt x="1837" y="266"/>
                </a:lnTo>
                <a:lnTo>
                  <a:pt x="1831" y="266"/>
                </a:lnTo>
                <a:lnTo>
                  <a:pt x="1831" y="272"/>
                </a:lnTo>
                <a:lnTo>
                  <a:pt x="1825" y="272"/>
                </a:lnTo>
                <a:lnTo>
                  <a:pt x="1825" y="266"/>
                </a:lnTo>
                <a:lnTo>
                  <a:pt x="1825" y="261"/>
                </a:lnTo>
                <a:lnTo>
                  <a:pt x="1820" y="261"/>
                </a:lnTo>
                <a:lnTo>
                  <a:pt x="1820" y="266"/>
                </a:lnTo>
                <a:lnTo>
                  <a:pt x="1820" y="261"/>
                </a:lnTo>
                <a:lnTo>
                  <a:pt x="1814" y="261"/>
                </a:lnTo>
                <a:lnTo>
                  <a:pt x="1814" y="266"/>
                </a:lnTo>
                <a:lnTo>
                  <a:pt x="1808" y="266"/>
                </a:lnTo>
                <a:lnTo>
                  <a:pt x="1808" y="272"/>
                </a:lnTo>
                <a:lnTo>
                  <a:pt x="1803" y="272"/>
                </a:lnTo>
                <a:lnTo>
                  <a:pt x="1803" y="266"/>
                </a:lnTo>
                <a:lnTo>
                  <a:pt x="1803" y="272"/>
                </a:lnTo>
                <a:lnTo>
                  <a:pt x="1803" y="266"/>
                </a:lnTo>
                <a:lnTo>
                  <a:pt x="1803" y="272"/>
                </a:lnTo>
                <a:lnTo>
                  <a:pt x="1803" y="266"/>
                </a:lnTo>
                <a:lnTo>
                  <a:pt x="1797" y="266"/>
                </a:lnTo>
                <a:lnTo>
                  <a:pt x="1803" y="266"/>
                </a:lnTo>
                <a:lnTo>
                  <a:pt x="1797" y="266"/>
                </a:lnTo>
                <a:lnTo>
                  <a:pt x="1797" y="272"/>
                </a:lnTo>
                <a:lnTo>
                  <a:pt x="1791" y="272"/>
                </a:lnTo>
                <a:lnTo>
                  <a:pt x="1797" y="272"/>
                </a:lnTo>
                <a:lnTo>
                  <a:pt x="1791" y="272"/>
                </a:lnTo>
                <a:lnTo>
                  <a:pt x="1786" y="272"/>
                </a:lnTo>
                <a:lnTo>
                  <a:pt x="1786" y="278"/>
                </a:lnTo>
                <a:lnTo>
                  <a:pt x="1786" y="283"/>
                </a:lnTo>
                <a:lnTo>
                  <a:pt x="1791" y="283"/>
                </a:lnTo>
                <a:lnTo>
                  <a:pt x="1786" y="283"/>
                </a:lnTo>
                <a:lnTo>
                  <a:pt x="1780" y="283"/>
                </a:lnTo>
                <a:lnTo>
                  <a:pt x="1774" y="283"/>
                </a:lnTo>
                <a:lnTo>
                  <a:pt x="1774" y="289"/>
                </a:lnTo>
                <a:lnTo>
                  <a:pt x="1769" y="289"/>
                </a:lnTo>
                <a:lnTo>
                  <a:pt x="1763" y="283"/>
                </a:lnTo>
                <a:lnTo>
                  <a:pt x="1763" y="289"/>
                </a:lnTo>
                <a:lnTo>
                  <a:pt x="1757" y="289"/>
                </a:lnTo>
                <a:lnTo>
                  <a:pt x="1752" y="289"/>
                </a:lnTo>
                <a:lnTo>
                  <a:pt x="1746" y="289"/>
                </a:lnTo>
                <a:lnTo>
                  <a:pt x="1746" y="295"/>
                </a:lnTo>
                <a:lnTo>
                  <a:pt x="1746" y="300"/>
                </a:lnTo>
                <a:lnTo>
                  <a:pt x="1746" y="306"/>
                </a:lnTo>
                <a:lnTo>
                  <a:pt x="1740" y="306"/>
                </a:lnTo>
                <a:lnTo>
                  <a:pt x="1735" y="306"/>
                </a:lnTo>
                <a:lnTo>
                  <a:pt x="1740" y="306"/>
                </a:lnTo>
                <a:lnTo>
                  <a:pt x="1740" y="312"/>
                </a:lnTo>
                <a:lnTo>
                  <a:pt x="1740" y="317"/>
                </a:lnTo>
                <a:lnTo>
                  <a:pt x="1735" y="317"/>
                </a:lnTo>
                <a:lnTo>
                  <a:pt x="1735" y="323"/>
                </a:lnTo>
                <a:lnTo>
                  <a:pt x="1729" y="323"/>
                </a:lnTo>
                <a:lnTo>
                  <a:pt x="1735" y="323"/>
                </a:lnTo>
                <a:lnTo>
                  <a:pt x="1735" y="329"/>
                </a:lnTo>
                <a:lnTo>
                  <a:pt x="1735" y="334"/>
                </a:lnTo>
                <a:lnTo>
                  <a:pt x="1740" y="334"/>
                </a:lnTo>
                <a:lnTo>
                  <a:pt x="1735" y="334"/>
                </a:lnTo>
                <a:lnTo>
                  <a:pt x="1735" y="340"/>
                </a:lnTo>
                <a:lnTo>
                  <a:pt x="1729" y="340"/>
                </a:lnTo>
                <a:lnTo>
                  <a:pt x="1735" y="340"/>
                </a:lnTo>
                <a:lnTo>
                  <a:pt x="1740" y="340"/>
                </a:lnTo>
                <a:lnTo>
                  <a:pt x="1740" y="346"/>
                </a:lnTo>
                <a:lnTo>
                  <a:pt x="1746" y="346"/>
                </a:lnTo>
                <a:lnTo>
                  <a:pt x="1752" y="346"/>
                </a:lnTo>
                <a:lnTo>
                  <a:pt x="1757" y="346"/>
                </a:lnTo>
                <a:lnTo>
                  <a:pt x="1757" y="340"/>
                </a:lnTo>
                <a:lnTo>
                  <a:pt x="1752" y="340"/>
                </a:lnTo>
                <a:lnTo>
                  <a:pt x="1746" y="340"/>
                </a:lnTo>
                <a:lnTo>
                  <a:pt x="1746" y="334"/>
                </a:lnTo>
                <a:lnTo>
                  <a:pt x="1746" y="329"/>
                </a:lnTo>
                <a:lnTo>
                  <a:pt x="1746" y="323"/>
                </a:lnTo>
                <a:lnTo>
                  <a:pt x="1752" y="323"/>
                </a:lnTo>
                <a:lnTo>
                  <a:pt x="1757" y="323"/>
                </a:lnTo>
                <a:lnTo>
                  <a:pt x="1763" y="323"/>
                </a:lnTo>
                <a:lnTo>
                  <a:pt x="1763" y="317"/>
                </a:lnTo>
                <a:lnTo>
                  <a:pt x="1763" y="312"/>
                </a:lnTo>
                <a:lnTo>
                  <a:pt x="1757" y="312"/>
                </a:lnTo>
                <a:lnTo>
                  <a:pt x="1763" y="312"/>
                </a:lnTo>
                <a:lnTo>
                  <a:pt x="1763" y="306"/>
                </a:lnTo>
                <a:lnTo>
                  <a:pt x="1769" y="306"/>
                </a:lnTo>
                <a:lnTo>
                  <a:pt x="1774" y="306"/>
                </a:lnTo>
                <a:lnTo>
                  <a:pt x="1774" y="300"/>
                </a:lnTo>
                <a:lnTo>
                  <a:pt x="1780" y="300"/>
                </a:lnTo>
                <a:lnTo>
                  <a:pt x="1780" y="295"/>
                </a:lnTo>
                <a:lnTo>
                  <a:pt x="1774" y="295"/>
                </a:lnTo>
                <a:lnTo>
                  <a:pt x="1780" y="289"/>
                </a:lnTo>
                <a:lnTo>
                  <a:pt x="1786" y="289"/>
                </a:lnTo>
                <a:lnTo>
                  <a:pt x="1786" y="295"/>
                </a:lnTo>
                <a:lnTo>
                  <a:pt x="1791" y="295"/>
                </a:lnTo>
                <a:lnTo>
                  <a:pt x="1791" y="289"/>
                </a:lnTo>
                <a:lnTo>
                  <a:pt x="1797" y="289"/>
                </a:lnTo>
                <a:lnTo>
                  <a:pt x="1803" y="289"/>
                </a:lnTo>
                <a:lnTo>
                  <a:pt x="1803" y="283"/>
                </a:lnTo>
                <a:lnTo>
                  <a:pt x="1803" y="289"/>
                </a:lnTo>
                <a:lnTo>
                  <a:pt x="1803" y="283"/>
                </a:lnTo>
                <a:lnTo>
                  <a:pt x="1808" y="283"/>
                </a:lnTo>
                <a:lnTo>
                  <a:pt x="1808" y="278"/>
                </a:lnTo>
                <a:lnTo>
                  <a:pt x="1808" y="272"/>
                </a:lnTo>
                <a:lnTo>
                  <a:pt x="1814" y="272"/>
                </a:lnTo>
                <a:lnTo>
                  <a:pt x="1820" y="272"/>
                </a:lnTo>
                <a:lnTo>
                  <a:pt x="1820" y="278"/>
                </a:lnTo>
                <a:lnTo>
                  <a:pt x="1814" y="278"/>
                </a:lnTo>
                <a:lnTo>
                  <a:pt x="1814" y="283"/>
                </a:lnTo>
                <a:lnTo>
                  <a:pt x="1814" y="289"/>
                </a:lnTo>
                <a:lnTo>
                  <a:pt x="1808" y="289"/>
                </a:lnTo>
                <a:lnTo>
                  <a:pt x="1814" y="289"/>
                </a:lnTo>
                <a:lnTo>
                  <a:pt x="1814" y="295"/>
                </a:lnTo>
                <a:lnTo>
                  <a:pt x="1814" y="289"/>
                </a:lnTo>
                <a:lnTo>
                  <a:pt x="1814" y="283"/>
                </a:lnTo>
                <a:lnTo>
                  <a:pt x="1814" y="278"/>
                </a:lnTo>
                <a:lnTo>
                  <a:pt x="1820" y="278"/>
                </a:lnTo>
                <a:lnTo>
                  <a:pt x="1820" y="283"/>
                </a:lnTo>
                <a:lnTo>
                  <a:pt x="1820" y="289"/>
                </a:lnTo>
                <a:lnTo>
                  <a:pt x="1825" y="289"/>
                </a:lnTo>
                <a:lnTo>
                  <a:pt x="1825" y="283"/>
                </a:lnTo>
                <a:lnTo>
                  <a:pt x="1831" y="283"/>
                </a:lnTo>
                <a:lnTo>
                  <a:pt x="1831" y="289"/>
                </a:lnTo>
                <a:lnTo>
                  <a:pt x="1837" y="289"/>
                </a:lnTo>
                <a:lnTo>
                  <a:pt x="1837" y="283"/>
                </a:lnTo>
                <a:lnTo>
                  <a:pt x="1837" y="278"/>
                </a:lnTo>
                <a:lnTo>
                  <a:pt x="1837" y="283"/>
                </a:lnTo>
                <a:lnTo>
                  <a:pt x="1842" y="283"/>
                </a:lnTo>
                <a:lnTo>
                  <a:pt x="1842" y="289"/>
                </a:lnTo>
                <a:lnTo>
                  <a:pt x="1842" y="295"/>
                </a:lnTo>
                <a:lnTo>
                  <a:pt x="1842" y="300"/>
                </a:lnTo>
                <a:lnTo>
                  <a:pt x="1848" y="300"/>
                </a:lnTo>
                <a:lnTo>
                  <a:pt x="1848" y="295"/>
                </a:lnTo>
                <a:lnTo>
                  <a:pt x="1854" y="295"/>
                </a:lnTo>
                <a:lnTo>
                  <a:pt x="1859" y="295"/>
                </a:lnTo>
                <a:lnTo>
                  <a:pt x="1859" y="289"/>
                </a:lnTo>
                <a:lnTo>
                  <a:pt x="1865" y="289"/>
                </a:lnTo>
                <a:lnTo>
                  <a:pt x="1865" y="283"/>
                </a:lnTo>
                <a:lnTo>
                  <a:pt x="1865" y="278"/>
                </a:lnTo>
                <a:lnTo>
                  <a:pt x="1865" y="272"/>
                </a:lnTo>
                <a:lnTo>
                  <a:pt x="1871" y="272"/>
                </a:lnTo>
                <a:lnTo>
                  <a:pt x="1871" y="266"/>
                </a:lnTo>
                <a:lnTo>
                  <a:pt x="1876" y="266"/>
                </a:lnTo>
                <a:lnTo>
                  <a:pt x="1882" y="266"/>
                </a:lnTo>
                <a:lnTo>
                  <a:pt x="1888" y="266"/>
                </a:lnTo>
                <a:lnTo>
                  <a:pt x="1888" y="261"/>
                </a:lnTo>
                <a:lnTo>
                  <a:pt x="1893" y="261"/>
                </a:lnTo>
                <a:lnTo>
                  <a:pt x="1893" y="255"/>
                </a:lnTo>
                <a:lnTo>
                  <a:pt x="1899" y="255"/>
                </a:lnTo>
                <a:lnTo>
                  <a:pt x="1899" y="261"/>
                </a:lnTo>
                <a:lnTo>
                  <a:pt x="1899" y="266"/>
                </a:lnTo>
                <a:lnTo>
                  <a:pt x="1899" y="272"/>
                </a:lnTo>
                <a:lnTo>
                  <a:pt x="1899" y="278"/>
                </a:lnTo>
                <a:lnTo>
                  <a:pt x="1905" y="278"/>
                </a:lnTo>
                <a:lnTo>
                  <a:pt x="1905" y="283"/>
                </a:lnTo>
                <a:lnTo>
                  <a:pt x="1910" y="283"/>
                </a:lnTo>
                <a:lnTo>
                  <a:pt x="1910" y="278"/>
                </a:lnTo>
                <a:lnTo>
                  <a:pt x="1910" y="283"/>
                </a:lnTo>
                <a:lnTo>
                  <a:pt x="1916" y="283"/>
                </a:lnTo>
                <a:lnTo>
                  <a:pt x="1916" y="289"/>
                </a:lnTo>
                <a:lnTo>
                  <a:pt x="1916" y="295"/>
                </a:lnTo>
                <a:lnTo>
                  <a:pt x="1910" y="295"/>
                </a:lnTo>
                <a:lnTo>
                  <a:pt x="1910" y="300"/>
                </a:lnTo>
                <a:lnTo>
                  <a:pt x="1916" y="300"/>
                </a:lnTo>
                <a:lnTo>
                  <a:pt x="1916" y="306"/>
                </a:lnTo>
                <a:lnTo>
                  <a:pt x="1922" y="306"/>
                </a:lnTo>
                <a:lnTo>
                  <a:pt x="1916" y="306"/>
                </a:lnTo>
                <a:lnTo>
                  <a:pt x="1922" y="312"/>
                </a:lnTo>
                <a:lnTo>
                  <a:pt x="1922" y="317"/>
                </a:lnTo>
                <a:lnTo>
                  <a:pt x="1922" y="323"/>
                </a:lnTo>
                <a:lnTo>
                  <a:pt x="1922" y="329"/>
                </a:lnTo>
                <a:lnTo>
                  <a:pt x="1927" y="329"/>
                </a:lnTo>
                <a:lnTo>
                  <a:pt x="1933" y="329"/>
                </a:lnTo>
                <a:lnTo>
                  <a:pt x="1939" y="323"/>
                </a:lnTo>
                <a:lnTo>
                  <a:pt x="1939" y="329"/>
                </a:lnTo>
                <a:lnTo>
                  <a:pt x="1933" y="329"/>
                </a:lnTo>
                <a:lnTo>
                  <a:pt x="1933" y="334"/>
                </a:lnTo>
                <a:lnTo>
                  <a:pt x="1939" y="334"/>
                </a:lnTo>
                <a:lnTo>
                  <a:pt x="1939" y="329"/>
                </a:lnTo>
                <a:lnTo>
                  <a:pt x="1945" y="329"/>
                </a:lnTo>
                <a:lnTo>
                  <a:pt x="1945" y="334"/>
                </a:lnTo>
                <a:lnTo>
                  <a:pt x="1950" y="334"/>
                </a:lnTo>
                <a:lnTo>
                  <a:pt x="1950" y="340"/>
                </a:lnTo>
                <a:lnTo>
                  <a:pt x="1956" y="340"/>
                </a:lnTo>
                <a:lnTo>
                  <a:pt x="1962" y="340"/>
                </a:lnTo>
                <a:lnTo>
                  <a:pt x="1967" y="340"/>
                </a:lnTo>
                <a:lnTo>
                  <a:pt x="1967" y="346"/>
                </a:lnTo>
                <a:lnTo>
                  <a:pt x="1967" y="340"/>
                </a:lnTo>
                <a:lnTo>
                  <a:pt x="1967" y="346"/>
                </a:lnTo>
                <a:lnTo>
                  <a:pt x="1973" y="346"/>
                </a:lnTo>
                <a:lnTo>
                  <a:pt x="1973" y="351"/>
                </a:lnTo>
                <a:lnTo>
                  <a:pt x="1973" y="357"/>
                </a:lnTo>
                <a:lnTo>
                  <a:pt x="1979" y="357"/>
                </a:lnTo>
                <a:lnTo>
                  <a:pt x="1979" y="363"/>
                </a:lnTo>
                <a:lnTo>
                  <a:pt x="1984" y="363"/>
                </a:lnTo>
                <a:lnTo>
                  <a:pt x="1990" y="363"/>
                </a:lnTo>
                <a:lnTo>
                  <a:pt x="1984" y="363"/>
                </a:lnTo>
                <a:lnTo>
                  <a:pt x="1984" y="368"/>
                </a:lnTo>
                <a:lnTo>
                  <a:pt x="1979" y="368"/>
                </a:lnTo>
                <a:lnTo>
                  <a:pt x="1984" y="368"/>
                </a:lnTo>
                <a:lnTo>
                  <a:pt x="1979" y="368"/>
                </a:lnTo>
                <a:lnTo>
                  <a:pt x="1979" y="374"/>
                </a:lnTo>
                <a:lnTo>
                  <a:pt x="1984" y="374"/>
                </a:lnTo>
                <a:lnTo>
                  <a:pt x="1984" y="368"/>
                </a:lnTo>
                <a:lnTo>
                  <a:pt x="1984" y="374"/>
                </a:lnTo>
                <a:lnTo>
                  <a:pt x="1984" y="368"/>
                </a:lnTo>
                <a:lnTo>
                  <a:pt x="1990" y="368"/>
                </a:lnTo>
                <a:lnTo>
                  <a:pt x="1996" y="368"/>
                </a:lnTo>
                <a:lnTo>
                  <a:pt x="2001" y="368"/>
                </a:lnTo>
                <a:lnTo>
                  <a:pt x="2001" y="363"/>
                </a:lnTo>
                <a:lnTo>
                  <a:pt x="1996" y="363"/>
                </a:lnTo>
                <a:lnTo>
                  <a:pt x="2001" y="363"/>
                </a:lnTo>
                <a:lnTo>
                  <a:pt x="2001" y="368"/>
                </a:lnTo>
                <a:lnTo>
                  <a:pt x="2007" y="368"/>
                </a:lnTo>
                <a:lnTo>
                  <a:pt x="2001" y="368"/>
                </a:lnTo>
                <a:lnTo>
                  <a:pt x="2001" y="374"/>
                </a:lnTo>
                <a:lnTo>
                  <a:pt x="2001" y="368"/>
                </a:lnTo>
                <a:lnTo>
                  <a:pt x="2001" y="374"/>
                </a:lnTo>
                <a:lnTo>
                  <a:pt x="1996" y="374"/>
                </a:lnTo>
                <a:lnTo>
                  <a:pt x="1996" y="380"/>
                </a:lnTo>
                <a:lnTo>
                  <a:pt x="2001" y="380"/>
                </a:lnTo>
                <a:lnTo>
                  <a:pt x="2001" y="374"/>
                </a:lnTo>
                <a:lnTo>
                  <a:pt x="2001" y="380"/>
                </a:lnTo>
                <a:lnTo>
                  <a:pt x="2007" y="380"/>
                </a:lnTo>
                <a:lnTo>
                  <a:pt x="2007" y="385"/>
                </a:lnTo>
                <a:lnTo>
                  <a:pt x="2007" y="391"/>
                </a:lnTo>
                <a:lnTo>
                  <a:pt x="2013" y="391"/>
                </a:lnTo>
                <a:lnTo>
                  <a:pt x="2013" y="397"/>
                </a:lnTo>
                <a:lnTo>
                  <a:pt x="2013" y="402"/>
                </a:lnTo>
                <a:lnTo>
                  <a:pt x="2018" y="402"/>
                </a:lnTo>
                <a:lnTo>
                  <a:pt x="2024" y="402"/>
                </a:lnTo>
                <a:lnTo>
                  <a:pt x="2024" y="408"/>
                </a:lnTo>
                <a:lnTo>
                  <a:pt x="2024" y="402"/>
                </a:lnTo>
                <a:lnTo>
                  <a:pt x="2024" y="397"/>
                </a:lnTo>
                <a:lnTo>
                  <a:pt x="2024" y="391"/>
                </a:lnTo>
                <a:lnTo>
                  <a:pt x="2018" y="391"/>
                </a:lnTo>
                <a:lnTo>
                  <a:pt x="2024" y="391"/>
                </a:lnTo>
                <a:lnTo>
                  <a:pt x="2024" y="385"/>
                </a:lnTo>
                <a:lnTo>
                  <a:pt x="2030" y="385"/>
                </a:lnTo>
                <a:lnTo>
                  <a:pt x="2035" y="385"/>
                </a:lnTo>
                <a:lnTo>
                  <a:pt x="2041" y="385"/>
                </a:lnTo>
                <a:lnTo>
                  <a:pt x="2047" y="385"/>
                </a:lnTo>
                <a:lnTo>
                  <a:pt x="2047" y="380"/>
                </a:lnTo>
                <a:lnTo>
                  <a:pt x="2052" y="380"/>
                </a:lnTo>
                <a:lnTo>
                  <a:pt x="2058" y="380"/>
                </a:lnTo>
                <a:lnTo>
                  <a:pt x="2058" y="374"/>
                </a:lnTo>
                <a:lnTo>
                  <a:pt x="2064" y="374"/>
                </a:lnTo>
                <a:lnTo>
                  <a:pt x="2064" y="368"/>
                </a:lnTo>
                <a:lnTo>
                  <a:pt x="2069" y="368"/>
                </a:lnTo>
                <a:lnTo>
                  <a:pt x="2075" y="368"/>
                </a:lnTo>
                <a:lnTo>
                  <a:pt x="2075" y="363"/>
                </a:lnTo>
                <a:lnTo>
                  <a:pt x="2081" y="363"/>
                </a:lnTo>
                <a:lnTo>
                  <a:pt x="2081" y="368"/>
                </a:lnTo>
                <a:lnTo>
                  <a:pt x="2075" y="368"/>
                </a:lnTo>
                <a:lnTo>
                  <a:pt x="2075" y="374"/>
                </a:lnTo>
                <a:lnTo>
                  <a:pt x="2081" y="374"/>
                </a:lnTo>
                <a:lnTo>
                  <a:pt x="2081" y="380"/>
                </a:lnTo>
                <a:lnTo>
                  <a:pt x="2086" y="380"/>
                </a:lnTo>
                <a:lnTo>
                  <a:pt x="2081" y="380"/>
                </a:lnTo>
                <a:lnTo>
                  <a:pt x="2086" y="380"/>
                </a:lnTo>
                <a:lnTo>
                  <a:pt x="2092" y="380"/>
                </a:lnTo>
                <a:lnTo>
                  <a:pt x="2092" y="385"/>
                </a:lnTo>
                <a:lnTo>
                  <a:pt x="2098" y="385"/>
                </a:lnTo>
                <a:lnTo>
                  <a:pt x="2098" y="391"/>
                </a:lnTo>
                <a:lnTo>
                  <a:pt x="2103" y="391"/>
                </a:lnTo>
                <a:lnTo>
                  <a:pt x="2103" y="397"/>
                </a:lnTo>
                <a:lnTo>
                  <a:pt x="2103" y="402"/>
                </a:lnTo>
                <a:lnTo>
                  <a:pt x="2103" y="408"/>
                </a:lnTo>
                <a:lnTo>
                  <a:pt x="2098" y="408"/>
                </a:lnTo>
                <a:lnTo>
                  <a:pt x="2103" y="408"/>
                </a:lnTo>
                <a:lnTo>
                  <a:pt x="2098" y="408"/>
                </a:lnTo>
                <a:lnTo>
                  <a:pt x="2098" y="414"/>
                </a:lnTo>
                <a:lnTo>
                  <a:pt x="2098" y="419"/>
                </a:lnTo>
                <a:lnTo>
                  <a:pt x="2092" y="419"/>
                </a:lnTo>
                <a:lnTo>
                  <a:pt x="2092" y="425"/>
                </a:lnTo>
                <a:lnTo>
                  <a:pt x="2092" y="419"/>
                </a:lnTo>
                <a:lnTo>
                  <a:pt x="2092" y="425"/>
                </a:lnTo>
                <a:lnTo>
                  <a:pt x="2086" y="425"/>
                </a:lnTo>
                <a:lnTo>
                  <a:pt x="2092" y="425"/>
                </a:lnTo>
                <a:lnTo>
                  <a:pt x="2086" y="425"/>
                </a:lnTo>
                <a:lnTo>
                  <a:pt x="2092" y="425"/>
                </a:lnTo>
                <a:lnTo>
                  <a:pt x="2092" y="431"/>
                </a:lnTo>
                <a:lnTo>
                  <a:pt x="2098" y="431"/>
                </a:lnTo>
                <a:lnTo>
                  <a:pt x="2098" y="436"/>
                </a:lnTo>
                <a:lnTo>
                  <a:pt x="2103" y="436"/>
                </a:lnTo>
                <a:lnTo>
                  <a:pt x="2103" y="442"/>
                </a:lnTo>
                <a:lnTo>
                  <a:pt x="2109" y="442"/>
                </a:lnTo>
                <a:lnTo>
                  <a:pt x="2115" y="442"/>
                </a:lnTo>
                <a:lnTo>
                  <a:pt x="2115" y="448"/>
                </a:lnTo>
                <a:lnTo>
                  <a:pt x="2120" y="448"/>
                </a:lnTo>
                <a:lnTo>
                  <a:pt x="2120" y="453"/>
                </a:lnTo>
                <a:lnTo>
                  <a:pt x="2120" y="459"/>
                </a:lnTo>
                <a:lnTo>
                  <a:pt x="2126" y="459"/>
                </a:lnTo>
                <a:lnTo>
                  <a:pt x="2132" y="459"/>
                </a:lnTo>
                <a:lnTo>
                  <a:pt x="2132" y="465"/>
                </a:lnTo>
                <a:lnTo>
                  <a:pt x="2137" y="470"/>
                </a:lnTo>
                <a:lnTo>
                  <a:pt x="2137" y="476"/>
                </a:lnTo>
                <a:lnTo>
                  <a:pt x="2132" y="476"/>
                </a:lnTo>
                <a:lnTo>
                  <a:pt x="2126" y="476"/>
                </a:lnTo>
                <a:lnTo>
                  <a:pt x="2126" y="482"/>
                </a:lnTo>
                <a:lnTo>
                  <a:pt x="2120" y="482"/>
                </a:lnTo>
                <a:lnTo>
                  <a:pt x="2120" y="487"/>
                </a:lnTo>
                <a:lnTo>
                  <a:pt x="2120" y="493"/>
                </a:lnTo>
                <a:lnTo>
                  <a:pt x="2120" y="487"/>
                </a:lnTo>
                <a:lnTo>
                  <a:pt x="2115" y="487"/>
                </a:lnTo>
                <a:lnTo>
                  <a:pt x="2115" y="493"/>
                </a:lnTo>
                <a:lnTo>
                  <a:pt x="2115" y="499"/>
                </a:lnTo>
                <a:lnTo>
                  <a:pt x="2109" y="499"/>
                </a:lnTo>
                <a:lnTo>
                  <a:pt x="2115" y="499"/>
                </a:lnTo>
                <a:lnTo>
                  <a:pt x="2115" y="504"/>
                </a:lnTo>
                <a:lnTo>
                  <a:pt x="2109" y="504"/>
                </a:lnTo>
                <a:lnTo>
                  <a:pt x="2115" y="504"/>
                </a:lnTo>
                <a:lnTo>
                  <a:pt x="2120" y="504"/>
                </a:lnTo>
                <a:lnTo>
                  <a:pt x="2126" y="504"/>
                </a:lnTo>
                <a:lnTo>
                  <a:pt x="2126" y="510"/>
                </a:lnTo>
                <a:lnTo>
                  <a:pt x="2126" y="516"/>
                </a:lnTo>
                <a:lnTo>
                  <a:pt x="2132" y="516"/>
                </a:lnTo>
                <a:lnTo>
                  <a:pt x="2132" y="521"/>
                </a:lnTo>
                <a:lnTo>
                  <a:pt x="2137" y="521"/>
                </a:lnTo>
                <a:lnTo>
                  <a:pt x="2143" y="521"/>
                </a:lnTo>
                <a:lnTo>
                  <a:pt x="2143" y="527"/>
                </a:lnTo>
                <a:lnTo>
                  <a:pt x="2149" y="527"/>
                </a:lnTo>
                <a:lnTo>
                  <a:pt x="2149" y="533"/>
                </a:lnTo>
                <a:lnTo>
                  <a:pt x="2154" y="533"/>
                </a:lnTo>
                <a:lnTo>
                  <a:pt x="2160" y="533"/>
                </a:lnTo>
                <a:lnTo>
                  <a:pt x="2160" y="538"/>
                </a:lnTo>
                <a:lnTo>
                  <a:pt x="2166" y="538"/>
                </a:lnTo>
                <a:lnTo>
                  <a:pt x="2171" y="538"/>
                </a:lnTo>
                <a:lnTo>
                  <a:pt x="2171" y="544"/>
                </a:lnTo>
                <a:lnTo>
                  <a:pt x="2177" y="544"/>
                </a:lnTo>
                <a:lnTo>
                  <a:pt x="2177" y="538"/>
                </a:lnTo>
                <a:lnTo>
                  <a:pt x="2177" y="544"/>
                </a:lnTo>
                <a:lnTo>
                  <a:pt x="2183" y="544"/>
                </a:lnTo>
                <a:lnTo>
                  <a:pt x="2188" y="544"/>
                </a:lnTo>
                <a:lnTo>
                  <a:pt x="2194" y="544"/>
                </a:lnTo>
                <a:lnTo>
                  <a:pt x="2194" y="550"/>
                </a:lnTo>
                <a:lnTo>
                  <a:pt x="2194" y="544"/>
                </a:lnTo>
                <a:lnTo>
                  <a:pt x="2194" y="550"/>
                </a:lnTo>
                <a:lnTo>
                  <a:pt x="2194" y="544"/>
                </a:lnTo>
                <a:lnTo>
                  <a:pt x="2200" y="544"/>
                </a:lnTo>
                <a:lnTo>
                  <a:pt x="2205" y="544"/>
                </a:lnTo>
                <a:lnTo>
                  <a:pt x="2205" y="550"/>
                </a:lnTo>
                <a:lnTo>
                  <a:pt x="2211" y="550"/>
                </a:lnTo>
                <a:lnTo>
                  <a:pt x="2211" y="544"/>
                </a:lnTo>
                <a:lnTo>
                  <a:pt x="2217" y="544"/>
                </a:lnTo>
                <a:lnTo>
                  <a:pt x="2217" y="538"/>
                </a:lnTo>
                <a:lnTo>
                  <a:pt x="2222" y="538"/>
                </a:lnTo>
                <a:lnTo>
                  <a:pt x="2222" y="533"/>
                </a:lnTo>
                <a:lnTo>
                  <a:pt x="2222" y="538"/>
                </a:lnTo>
                <a:lnTo>
                  <a:pt x="2228" y="538"/>
                </a:lnTo>
                <a:lnTo>
                  <a:pt x="2228" y="544"/>
                </a:lnTo>
                <a:lnTo>
                  <a:pt x="2234" y="544"/>
                </a:lnTo>
                <a:lnTo>
                  <a:pt x="2228" y="544"/>
                </a:lnTo>
                <a:lnTo>
                  <a:pt x="2234" y="544"/>
                </a:lnTo>
                <a:lnTo>
                  <a:pt x="2228" y="544"/>
                </a:lnTo>
                <a:lnTo>
                  <a:pt x="2228" y="550"/>
                </a:lnTo>
                <a:lnTo>
                  <a:pt x="2228" y="555"/>
                </a:lnTo>
                <a:lnTo>
                  <a:pt x="2222" y="555"/>
                </a:lnTo>
                <a:lnTo>
                  <a:pt x="2217" y="555"/>
                </a:lnTo>
                <a:lnTo>
                  <a:pt x="2217" y="561"/>
                </a:lnTo>
                <a:lnTo>
                  <a:pt x="2222" y="561"/>
                </a:lnTo>
                <a:lnTo>
                  <a:pt x="2222" y="567"/>
                </a:lnTo>
                <a:lnTo>
                  <a:pt x="2228" y="567"/>
                </a:lnTo>
                <a:lnTo>
                  <a:pt x="2228" y="561"/>
                </a:lnTo>
                <a:lnTo>
                  <a:pt x="2234" y="561"/>
                </a:lnTo>
                <a:lnTo>
                  <a:pt x="2234" y="567"/>
                </a:lnTo>
                <a:lnTo>
                  <a:pt x="2239" y="567"/>
                </a:lnTo>
                <a:lnTo>
                  <a:pt x="2234" y="572"/>
                </a:lnTo>
                <a:lnTo>
                  <a:pt x="2239" y="572"/>
                </a:lnTo>
                <a:lnTo>
                  <a:pt x="2234" y="572"/>
                </a:lnTo>
                <a:lnTo>
                  <a:pt x="2234" y="578"/>
                </a:lnTo>
                <a:lnTo>
                  <a:pt x="2239" y="578"/>
                </a:lnTo>
                <a:lnTo>
                  <a:pt x="2239" y="584"/>
                </a:lnTo>
                <a:lnTo>
                  <a:pt x="2239" y="589"/>
                </a:lnTo>
                <a:lnTo>
                  <a:pt x="2245" y="595"/>
                </a:lnTo>
                <a:lnTo>
                  <a:pt x="2245" y="612"/>
                </a:lnTo>
                <a:lnTo>
                  <a:pt x="2245" y="618"/>
                </a:lnTo>
                <a:lnTo>
                  <a:pt x="2245" y="624"/>
                </a:lnTo>
                <a:lnTo>
                  <a:pt x="2245" y="629"/>
                </a:lnTo>
                <a:lnTo>
                  <a:pt x="2251" y="629"/>
                </a:lnTo>
                <a:lnTo>
                  <a:pt x="2251" y="635"/>
                </a:lnTo>
                <a:lnTo>
                  <a:pt x="2251" y="641"/>
                </a:lnTo>
                <a:lnTo>
                  <a:pt x="2251" y="646"/>
                </a:lnTo>
                <a:lnTo>
                  <a:pt x="2256" y="646"/>
                </a:lnTo>
                <a:lnTo>
                  <a:pt x="2256" y="652"/>
                </a:lnTo>
                <a:lnTo>
                  <a:pt x="2262" y="652"/>
                </a:lnTo>
                <a:lnTo>
                  <a:pt x="2262" y="658"/>
                </a:lnTo>
                <a:lnTo>
                  <a:pt x="2262" y="663"/>
                </a:lnTo>
                <a:lnTo>
                  <a:pt x="2268" y="669"/>
                </a:lnTo>
                <a:lnTo>
                  <a:pt x="2268" y="675"/>
                </a:lnTo>
                <a:lnTo>
                  <a:pt x="2262" y="675"/>
                </a:lnTo>
                <a:lnTo>
                  <a:pt x="2268" y="680"/>
                </a:lnTo>
                <a:lnTo>
                  <a:pt x="2268" y="686"/>
                </a:lnTo>
                <a:lnTo>
                  <a:pt x="2268" y="692"/>
                </a:lnTo>
                <a:lnTo>
                  <a:pt x="2273" y="697"/>
                </a:lnTo>
                <a:lnTo>
                  <a:pt x="2273" y="703"/>
                </a:lnTo>
                <a:lnTo>
                  <a:pt x="2273" y="709"/>
                </a:lnTo>
                <a:lnTo>
                  <a:pt x="2273" y="714"/>
                </a:lnTo>
                <a:lnTo>
                  <a:pt x="2279" y="714"/>
                </a:lnTo>
                <a:lnTo>
                  <a:pt x="2279" y="720"/>
                </a:lnTo>
                <a:lnTo>
                  <a:pt x="2279" y="726"/>
                </a:lnTo>
                <a:lnTo>
                  <a:pt x="2279" y="731"/>
                </a:lnTo>
                <a:lnTo>
                  <a:pt x="2279" y="737"/>
                </a:lnTo>
                <a:lnTo>
                  <a:pt x="2285" y="743"/>
                </a:lnTo>
                <a:lnTo>
                  <a:pt x="2290" y="743"/>
                </a:lnTo>
                <a:lnTo>
                  <a:pt x="2290" y="748"/>
                </a:lnTo>
                <a:lnTo>
                  <a:pt x="2290" y="754"/>
                </a:lnTo>
                <a:lnTo>
                  <a:pt x="2285" y="754"/>
                </a:lnTo>
                <a:lnTo>
                  <a:pt x="2285" y="760"/>
                </a:lnTo>
                <a:lnTo>
                  <a:pt x="2285" y="765"/>
                </a:lnTo>
                <a:lnTo>
                  <a:pt x="2279" y="765"/>
                </a:lnTo>
                <a:lnTo>
                  <a:pt x="2279" y="771"/>
                </a:lnTo>
                <a:lnTo>
                  <a:pt x="2279" y="777"/>
                </a:lnTo>
                <a:lnTo>
                  <a:pt x="2273" y="777"/>
                </a:lnTo>
                <a:lnTo>
                  <a:pt x="2273" y="782"/>
                </a:lnTo>
                <a:lnTo>
                  <a:pt x="2273" y="788"/>
                </a:lnTo>
                <a:lnTo>
                  <a:pt x="2273" y="794"/>
                </a:lnTo>
                <a:lnTo>
                  <a:pt x="2273" y="799"/>
                </a:lnTo>
                <a:lnTo>
                  <a:pt x="2279" y="799"/>
                </a:lnTo>
                <a:lnTo>
                  <a:pt x="2279" y="805"/>
                </a:lnTo>
                <a:lnTo>
                  <a:pt x="2273" y="805"/>
                </a:lnTo>
                <a:lnTo>
                  <a:pt x="2279" y="805"/>
                </a:lnTo>
                <a:lnTo>
                  <a:pt x="2273" y="811"/>
                </a:lnTo>
                <a:lnTo>
                  <a:pt x="2279" y="811"/>
                </a:lnTo>
                <a:lnTo>
                  <a:pt x="2273" y="811"/>
                </a:lnTo>
                <a:lnTo>
                  <a:pt x="2279" y="811"/>
                </a:lnTo>
                <a:lnTo>
                  <a:pt x="2273" y="811"/>
                </a:lnTo>
                <a:lnTo>
                  <a:pt x="2273" y="816"/>
                </a:lnTo>
                <a:lnTo>
                  <a:pt x="2273" y="822"/>
                </a:lnTo>
                <a:lnTo>
                  <a:pt x="2273" y="828"/>
                </a:lnTo>
                <a:lnTo>
                  <a:pt x="2273" y="833"/>
                </a:lnTo>
                <a:lnTo>
                  <a:pt x="2273" y="839"/>
                </a:lnTo>
                <a:lnTo>
                  <a:pt x="2268" y="839"/>
                </a:lnTo>
                <a:lnTo>
                  <a:pt x="2268" y="845"/>
                </a:lnTo>
                <a:lnTo>
                  <a:pt x="2262" y="845"/>
                </a:lnTo>
                <a:lnTo>
                  <a:pt x="2262" y="850"/>
                </a:lnTo>
                <a:lnTo>
                  <a:pt x="2256" y="850"/>
                </a:lnTo>
                <a:lnTo>
                  <a:pt x="2256" y="856"/>
                </a:lnTo>
                <a:lnTo>
                  <a:pt x="2251" y="862"/>
                </a:lnTo>
                <a:lnTo>
                  <a:pt x="2245" y="867"/>
                </a:lnTo>
                <a:lnTo>
                  <a:pt x="2239" y="867"/>
                </a:lnTo>
                <a:lnTo>
                  <a:pt x="2239" y="873"/>
                </a:lnTo>
                <a:lnTo>
                  <a:pt x="2234" y="873"/>
                </a:lnTo>
                <a:lnTo>
                  <a:pt x="2228" y="873"/>
                </a:lnTo>
                <a:lnTo>
                  <a:pt x="2228" y="879"/>
                </a:lnTo>
                <a:lnTo>
                  <a:pt x="2222" y="879"/>
                </a:lnTo>
                <a:lnTo>
                  <a:pt x="2222" y="884"/>
                </a:lnTo>
                <a:lnTo>
                  <a:pt x="2217" y="884"/>
                </a:lnTo>
                <a:lnTo>
                  <a:pt x="2217" y="890"/>
                </a:lnTo>
                <a:lnTo>
                  <a:pt x="2217" y="896"/>
                </a:lnTo>
                <a:lnTo>
                  <a:pt x="2222" y="896"/>
                </a:lnTo>
                <a:lnTo>
                  <a:pt x="2222" y="901"/>
                </a:lnTo>
                <a:lnTo>
                  <a:pt x="2222" y="907"/>
                </a:lnTo>
                <a:lnTo>
                  <a:pt x="2222" y="913"/>
                </a:lnTo>
                <a:lnTo>
                  <a:pt x="2222" y="918"/>
                </a:lnTo>
                <a:lnTo>
                  <a:pt x="2222" y="924"/>
                </a:lnTo>
                <a:lnTo>
                  <a:pt x="2222" y="930"/>
                </a:lnTo>
                <a:lnTo>
                  <a:pt x="2217" y="930"/>
                </a:lnTo>
                <a:lnTo>
                  <a:pt x="2217" y="935"/>
                </a:lnTo>
                <a:lnTo>
                  <a:pt x="2217" y="941"/>
                </a:lnTo>
                <a:lnTo>
                  <a:pt x="2222" y="941"/>
                </a:lnTo>
                <a:lnTo>
                  <a:pt x="2222" y="947"/>
                </a:lnTo>
                <a:lnTo>
                  <a:pt x="2228" y="947"/>
                </a:lnTo>
                <a:lnTo>
                  <a:pt x="2234" y="947"/>
                </a:lnTo>
                <a:lnTo>
                  <a:pt x="2239" y="947"/>
                </a:lnTo>
                <a:lnTo>
                  <a:pt x="2245" y="947"/>
                </a:lnTo>
                <a:lnTo>
                  <a:pt x="2245" y="952"/>
                </a:lnTo>
                <a:lnTo>
                  <a:pt x="2251" y="952"/>
                </a:lnTo>
                <a:lnTo>
                  <a:pt x="2251" y="958"/>
                </a:lnTo>
                <a:lnTo>
                  <a:pt x="2256" y="958"/>
                </a:lnTo>
                <a:lnTo>
                  <a:pt x="2256" y="964"/>
                </a:lnTo>
                <a:lnTo>
                  <a:pt x="2262" y="964"/>
                </a:lnTo>
                <a:lnTo>
                  <a:pt x="2262" y="969"/>
                </a:lnTo>
                <a:lnTo>
                  <a:pt x="2268" y="969"/>
                </a:lnTo>
                <a:lnTo>
                  <a:pt x="2273" y="969"/>
                </a:lnTo>
                <a:lnTo>
                  <a:pt x="2279" y="969"/>
                </a:lnTo>
                <a:lnTo>
                  <a:pt x="2279" y="975"/>
                </a:lnTo>
                <a:lnTo>
                  <a:pt x="2285" y="975"/>
                </a:lnTo>
                <a:lnTo>
                  <a:pt x="2285" y="981"/>
                </a:lnTo>
                <a:lnTo>
                  <a:pt x="2290" y="981"/>
                </a:lnTo>
                <a:lnTo>
                  <a:pt x="2290" y="986"/>
                </a:lnTo>
                <a:lnTo>
                  <a:pt x="2296" y="986"/>
                </a:lnTo>
                <a:lnTo>
                  <a:pt x="2296" y="992"/>
                </a:lnTo>
                <a:lnTo>
                  <a:pt x="2296" y="998"/>
                </a:lnTo>
                <a:lnTo>
                  <a:pt x="2302" y="998"/>
                </a:lnTo>
                <a:lnTo>
                  <a:pt x="2302" y="1003"/>
                </a:lnTo>
                <a:lnTo>
                  <a:pt x="2307" y="1003"/>
                </a:lnTo>
                <a:lnTo>
                  <a:pt x="2307" y="1009"/>
                </a:lnTo>
                <a:lnTo>
                  <a:pt x="2313" y="1009"/>
                </a:lnTo>
                <a:lnTo>
                  <a:pt x="2313" y="1015"/>
                </a:lnTo>
                <a:lnTo>
                  <a:pt x="2319" y="1015"/>
                </a:lnTo>
                <a:lnTo>
                  <a:pt x="2324" y="1015"/>
                </a:lnTo>
                <a:lnTo>
                  <a:pt x="2324" y="1020"/>
                </a:lnTo>
                <a:lnTo>
                  <a:pt x="2330" y="1020"/>
                </a:lnTo>
                <a:lnTo>
                  <a:pt x="2336" y="1020"/>
                </a:lnTo>
                <a:lnTo>
                  <a:pt x="2336" y="1026"/>
                </a:lnTo>
                <a:lnTo>
                  <a:pt x="2341" y="1026"/>
                </a:lnTo>
                <a:lnTo>
                  <a:pt x="2347" y="1032"/>
                </a:lnTo>
                <a:lnTo>
                  <a:pt x="2353" y="1037"/>
                </a:lnTo>
                <a:lnTo>
                  <a:pt x="2353" y="1043"/>
                </a:lnTo>
                <a:lnTo>
                  <a:pt x="2358" y="1043"/>
                </a:lnTo>
                <a:lnTo>
                  <a:pt x="2358" y="1049"/>
                </a:lnTo>
                <a:lnTo>
                  <a:pt x="2353" y="1049"/>
                </a:lnTo>
                <a:lnTo>
                  <a:pt x="2353" y="1054"/>
                </a:lnTo>
                <a:lnTo>
                  <a:pt x="2353" y="1060"/>
                </a:lnTo>
                <a:lnTo>
                  <a:pt x="2353" y="1066"/>
                </a:lnTo>
                <a:lnTo>
                  <a:pt x="2353" y="1071"/>
                </a:lnTo>
                <a:lnTo>
                  <a:pt x="2358" y="1077"/>
                </a:lnTo>
                <a:lnTo>
                  <a:pt x="2358" y="1083"/>
                </a:lnTo>
                <a:lnTo>
                  <a:pt x="2358" y="1088"/>
                </a:lnTo>
                <a:lnTo>
                  <a:pt x="2353" y="1088"/>
                </a:lnTo>
                <a:lnTo>
                  <a:pt x="2353" y="1094"/>
                </a:lnTo>
                <a:lnTo>
                  <a:pt x="2353" y="1100"/>
                </a:lnTo>
                <a:lnTo>
                  <a:pt x="2347" y="1100"/>
                </a:lnTo>
                <a:lnTo>
                  <a:pt x="2347" y="1105"/>
                </a:lnTo>
                <a:lnTo>
                  <a:pt x="2341" y="1105"/>
                </a:lnTo>
                <a:lnTo>
                  <a:pt x="2336" y="1111"/>
                </a:lnTo>
                <a:lnTo>
                  <a:pt x="2341" y="1117"/>
                </a:lnTo>
                <a:lnTo>
                  <a:pt x="2336" y="1117"/>
                </a:lnTo>
                <a:lnTo>
                  <a:pt x="2336" y="1122"/>
                </a:lnTo>
                <a:lnTo>
                  <a:pt x="2336" y="1128"/>
                </a:lnTo>
                <a:lnTo>
                  <a:pt x="2341" y="1128"/>
                </a:lnTo>
                <a:lnTo>
                  <a:pt x="2341" y="1134"/>
                </a:lnTo>
                <a:lnTo>
                  <a:pt x="2341" y="1139"/>
                </a:lnTo>
                <a:lnTo>
                  <a:pt x="2341" y="1145"/>
                </a:lnTo>
                <a:lnTo>
                  <a:pt x="2347" y="1145"/>
                </a:lnTo>
                <a:lnTo>
                  <a:pt x="2347" y="1151"/>
                </a:lnTo>
                <a:lnTo>
                  <a:pt x="2347" y="1156"/>
                </a:lnTo>
                <a:lnTo>
                  <a:pt x="2353" y="1156"/>
                </a:lnTo>
                <a:lnTo>
                  <a:pt x="2353" y="1162"/>
                </a:lnTo>
                <a:lnTo>
                  <a:pt x="2353" y="1168"/>
                </a:lnTo>
                <a:lnTo>
                  <a:pt x="2347" y="1168"/>
                </a:lnTo>
                <a:lnTo>
                  <a:pt x="2353" y="1168"/>
                </a:lnTo>
                <a:lnTo>
                  <a:pt x="2353" y="1173"/>
                </a:lnTo>
                <a:lnTo>
                  <a:pt x="2358" y="1179"/>
                </a:lnTo>
                <a:lnTo>
                  <a:pt x="2364" y="1179"/>
                </a:lnTo>
                <a:lnTo>
                  <a:pt x="2370" y="1179"/>
                </a:lnTo>
                <a:lnTo>
                  <a:pt x="2375" y="1179"/>
                </a:lnTo>
                <a:lnTo>
                  <a:pt x="2381" y="1179"/>
                </a:lnTo>
                <a:lnTo>
                  <a:pt x="2381" y="1185"/>
                </a:lnTo>
                <a:lnTo>
                  <a:pt x="2387" y="1185"/>
                </a:lnTo>
                <a:lnTo>
                  <a:pt x="2387" y="1190"/>
                </a:lnTo>
                <a:lnTo>
                  <a:pt x="2387" y="1196"/>
                </a:lnTo>
                <a:lnTo>
                  <a:pt x="2387" y="1202"/>
                </a:lnTo>
                <a:lnTo>
                  <a:pt x="2387" y="1207"/>
                </a:lnTo>
                <a:lnTo>
                  <a:pt x="2381" y="1207"/>
                </a:lnTo>
                <a:lnTo>
                  <a:pt x="2381" y="1213"/>
                </a:lnTo>
                <a:lnTo>
                  <a:pt x="2387" y="1213"/>
                </a:lnTo>
                <a:lnTo>
                  <a:pt x="2387" y="1219"/>
                </a:lnTo>
                <a:lnTo>
                  <a:pt x="2387" y="1224"/>
                </a:lnTo>
                <a:lnTo>
                  <a:pt x="2381" y="1230"/>
                </a:lnTo>
                <a:lnTo>
                  <a:pt x="2381" y="1236"/>
                </a:lnTo>
                <a:lnTo>
                  <a:pt x="2381" y="1241"/>
                </a:lnTo>
                <a:lnTo>
                  <a:pt x="2381" y="1247"/>
                </a:lnTo>
                <a:lnTo>
                  <a:pt x="2387" y="1247"/>
                </a:lnTo>
                <a:lnTo>
                  <a:pt x="2387" y="1253"/>
                </a:lnTo>
                <a:lnTo>
                  <a:pt x="2392" y="1253"/>
                </a:lnTo>
                <a:lnTo>
                  <a:pt x="2398" y="1253"/>
                </a:lnTo>
                <a:lnTo>
                  <a:pt x="2398" y="1258"/>
                </a:lnTo>
                <a:lnTo>
                  <a:pt x="2404" y="1258"/>
                </a:lnTo>
                <a:lnTo>
                  <a:pt x="2404" y="1264"/>
                </a:lnTo>
                <a:lnTo>
                  <a:pt x="2404" y="1270"/>
                </a:lnTo>
                <a:lnTo>
                  <a:pt x="2404" y="1275"/>
                </a:lnTo>
                <a:lnTo>
                  <a:pt x="2404" y="1281"/>
                </a:lnTo>
                <a:lnTo>
                  <a:pt x="2398" y="1281"/>
                </a:lnTo>
                <a:lnTo>
                  <a:pt x="2398" y="1287"/>
                </a:lnTo>
                <a:lnTo>
                  <a:pt x="2398" y="1292"/>
                </a:lnTo>
                <a:lnTo>
                  <a:pt x="2392" y="1292"/>
                </a:lnTo>
                <a:lnTo>
                  <a:pt x="2398" y="1292"/>
                </a:lnTo>
                <a:lnTo>
                  <a:pt x="2398" y="1298"/>
                </a:lnTo>
                <a:lnTo>
                  <a:pt x="2398" y="1304"/>
                </a:lnTo>
                <a:lnTo>
                  <a:pt x="2392" y="1304"/>
                </a:lnTo>
                <a:lnTo>
                  <a:pt x="2392" y="1309"/>
                </a:lnTo>
                <a:lnTo>
                  <a:pt x="2398" y="1309"/>
                </a:lnTo>
                <a:lnTo>
                  <a:pt x="2398" y="1315"/>
                </a:lnTo>
                <a:lnTo>
                  <a:pt x="2398" y="1321"/>
                </a:lnTo>
                <a:lnTo>
                  <a:pt x="2392" y="1321"/>
                </a:lnTo>
                <a:lnTo>
                  <a:pt x="2392" y="1326"/>
                </a:lnTo>
                <a:lnTo>
                  <a:pt x="2392" y="1332"/>
                </a:lnTo>
                <a:lnTo>
                  <a:pt x="2392" y="1338"/>
                </a:lnTo>
                <a:lnTo>
                  <a:pt x="2387" y="1338"/>
                </a:lnTo>
                <a:lnTo>
                  <a:pt x="2387" y="1344"/>
                </a:lnTo>
                <a:lnTo>
                  <a:pt x="2381" y="1344"/>
                </a:lnTo>
                <a:lnTo>
                  <a:pt x="2381" y="1349"/>
                </a:lnTo>
                <a:lnTo>
                  <a:pt x="2381" y="1355"/>
                </a:lnTo>
                <a:lnTo>
                  <a:pt x="2375" y="1355"/>
                </a:lnTo>
                <a:lnTo>
                  <a:pt x="2370" y="1355"/>
                </a:lnTo>
                <a:lnTo>
                  <a:pt x="2370" y="1361"/>
                </a:lnTo>
                <a:lnTo>
                  <a:pt x="2370" y="1366"/>
                </a:lnTo>
                <a:lnTo>
                  <a:pt x="2364" y="1366"/>
                </a:lnTo>
                <a:lnTo>
                  <a:pt x="2370" y="1366"/>
                </a:lnTo>
                <a:lnTo>
                  <a:pt x="2364" y="1366"/>
                </a:lnTo>
                <a:lnTo>
                  <a:pt x="2370" y="1366"/>
                </a:lnTo>
                <a:lnTo>
                  <a:pt x="2370" y="1372"/>
                </a:lnTo>
                <a:lnTo>
                  <a:pt x="2364" y="1372"/>
                </a:lnTo>
                <a:lnTo>
                  <a:pt x="2370" y="1372"/>
                </a:lnTo>
                <a:lnTo>
                  <a:pt x="2364" y="1372"/>
                </a:lnTo>
                <a:lnTo>
                  <a:pt x="2370" y="1372"/>
                </a:lnTo>
                <a:lnTo>
                  <a:pt x="2370" y="1378"/>
                </a:lnTo>
                <a:lnTo>
                  <a:pt x="2375" y="1378"/>
                </a:lnTo>
                <a:lnTo>
                  <a:pt x="2375" y="1383"/>
                </a:lnTo>
                <a:lnTo>
                  <a:pt x="2381" y="1383"/>
                </a:lnTo>
                <a:lnTo>
                  <a:pt x="2381" y="1389"/>
                </a:lnTo>
                <a:lnTo>
                  <a:pt x="2387" y="1389"/>
                </a:lnTo>
                <a:lnTo>
                  <a:pt x="2387" y="1395"/>
                </a:lnTo>
                <a:lnTo>
                  <a:pt x="2387" y="1400"/>
                </a:lnTo>
                <a:lnTo>
                  <a:pt x="2387" y="1406"/>
                </a:lnTo>
                <a:lnTo>
                  <a:pt x="2387" y="1412"/>
                </a:lnTo>
                <a:lnTo>
                  <a:pt x="2392" y="1412"/>
                </a:lnTo>
                <a:lnTo>
                  <a:pt x="2392" y="1417"/>
                </a:lnTo>
                <a:lnTo>
                  <a:pt x="2398" y="1417"/>
                </a:lnTo>
                <a:lnTo>
                  <a:pt x="2398" y="1423"/>
                </a:lnTo>
                <a:lnTo>
                  <a:pt x="2404" y="1423"/>
                </a:lnTo>
                <a:lnTo>
                  <a:pt x="2404" y="1429"/>
                </a:lnTo>
                <a:lnTo>
                  <a:pt x="2409" y="1429"/>
                </a:lnTo>
                <a:lnTo>
                  <a:pt x="2409" y="1434"/>
                </a:lnTo>
                <a:lnTo>
                  <a:pt x="2415" y="1434"/>
                </a:lnTo>
                <a:lnTo>
                  <a:pt x="2415" y="1440"/>
                </a:lnTo>
                <a:lnTo>
                  <a:pt x="2415" y="1446"/>
                </a:lnTo>
                <a:lnTo>
                  <a:pt x="2415" y="1451"/>
                </a:lnTo>
                <a:lnTo>
                  <a:pt x="2415" y="1457"/>
                </a:lnTo>
                <a:lnTo>
                  <a:pt x="2421" y="1457"/>
                </a:lnTo>
                <a:lnTo>
                  <a:pt x="2421" y="1463"/>
                </a:lnTo>
                <a:lnTo>
                  <a:pt x="2421" y="1468"/>
                </a:lnTo>
                <a:lnTo>
                  <a:pt x="2415" y="1468"/>
                </a:lnTo>
                <a:lnTo>
                  <a:pt x="2415" y="1474"/>
                </a:lnTo>
                <a:lnTo>
                  <a:pt x="2409" y="1474"/>
                </a:lnTo>
                <a:lnTo>
                  <a:pt x="2409" y="1480"/>
                </a:lnTo>
                <a:lnTo>
                  <a:pt x="2409" y="1485"/>
                </a:lnTo>
                <a:lnTo>
                  <a:pt x="2409" y="1491"/>
                </a:lnTo>
                <a:lnTo>
                  <a:pt x="2415" y="1491"/>
                </a:lnTo>
                <a:lnTo>
                  <a:pt x="2409" y="1491"/>
                </a:lnTo>
                <a:lnTo>
                  <a:pt x="2409" y="1497"/>
                </a:lnTo>
                <a:lnTo>
                  <a:pt x="2415" y="1497"/>
                </a:lnTo>
                <a:lnTo>
                  <a:pt x="2409" y="1497"/>
                </a:lnTo>
                <a:lnTo>
                  <a:pt x="2415" y="1497"/>
                </a:lnTo>
                <a:lnTo>
                  <a:pt x="2421" y="1502"/>
                </a:lnTo>
                <a:lnTo>
                  <a:pt x="2421" y="1497"/>
                </a:lnTo>
                <a:lnTo>
                  <a:pt x="2421" y="1502"/>
                </a:lnTo>
                <a:lnTo>
                  <a:pt x="2426" y="1502"/>
                </a:lnTo>
                <a:lnTo>
                  <a:pt x="2432" y="1502"/>
                </a:lnTo>
                <a:lnTo>
                  <a:pt x="2438" y="1502"/>
                </a:lnTo>
                <a:lnTo>
                  <a:pt x="2438" y="1508"/>
                </a:lnTo>
                <a:lnTo>
                  <a:pt x="2438" y="1502"/>
                </a:lnTo>
                <a:lnTo>
                  <a:pt x="2438" y="1508"/>
                </a:lnTo>
                <a:lnTo>
                  <a:pt x="2443" y="1508"/>
                </a:lnTo>
                <a:lnTo>
                  <a:pt x="2438" y="1508"/>
                </a:lnTo>
                <a:lnTo>
                  <a:pt x="2443" y="1508"/>
                </a:lnTo>
                <a:lnTo>
                  <a:pt x="2443" y="1514"/>
                </a:lnTo>
                <a:lnTo>
                  <a:pt x="2449" y="1514"/>
                </a:lnTo>
                <a:lnTo>
                  <a:pt x="2455" y="1514"/>
                </a:lnTo>
                <a:lnTo>
                  <a:pt x="2460" y="1514"/>
                </a:lnTo>
                <a:lnTo>
                  <a:pt x="2466" y="1514"/>
                </a:lnTo>
                <a:lnTo>
                  <a:pt x="2466" y="1519"/>
                </a:lnTo>
                <a:lnTo>
                  <a:pt x="2472" y="1519"/>
                </a:lnTo>
                <a:lnTo>
                  <a:pt x="2477" y="1519"/>
                </a:lnTo>
                <a:lnTo>
                  <a:pt x="2477" y="1525"/>
                </a:lnTo>
                <a:lnTo>
                  <a:pt x="2477" y="1531"/>
                </a:lnTo>
                <a:lnTo>
                  <a:pt x="2483" y="1531"/>
                </a:lnTo>
                <a:lnTo>
                  <a:pt x="2483" y="1536"/>
                </a:lnTo>
                <a:lnTo>
                  <a:pt x="2477" y="1536"/>
                </a:lnTo>
                <a:lnTo>
                  <a:pt x="2477" y="1542"/>
                </a:lnTo>
                <a:lnTo>
                  <a:pt x="2477" y="1548"/>
                </a:lnTo>
                <a:lnTo>
                  <a:pt x="2483" y="1548"/>
                </a:lnTo>
                <a:lnTo>
                  <a:pt x="2477" y="1548"/>
                </a:lnTo>
                <a:lnTo>
                  <a:pt x="2477" y="1553"/>
                </a:lnTo>
                <a:lnTo>
                  <a:pt x="2483" y="1553"/>
                </a:lnTo>
                <a:lnTo>
                  <a:pt x="2483" y="1559"/>
                </a:lnTo>
                <a:lnTo>
                  <a:pt x="2489" y="1559"/>
                </a:lnTo>
                <a:lnTo>
                  <a:pt x="2483" y="1559"/>
                </a:lnTo>
                <a:lnTo>
                  <a:pt x="2483" y="1565"/>
                </a:lnTo>
                <a:lnTo>
                  <a:pt x="2483" y="1570"/>
                </a:lnTo>
                <a:lnTo>
                  <a:pt x="2483" y="1576"/>
                </a:lnTo>
                <a:lnTo>
                  <a:pt x="2489" y="1576"/>
                </a:lnTo>
                <a:lnTo>
                  <a:pt x="2489" y="1582"/>
                </a:lnTo>
                <a:lnTo>
                  <a:pt x="2494" y="1582"/>
                </a:lnTo>
                <a:lnTo>
                  <a:pt x="2494" y="1587"/>
                </a:lnTo>
                <a:lnTo>
                  <a:pt x="2494" y="1593"/>
                </a:lnTo>
                <a:lnTo>
                  <a:pt x="2500" y="1593"/>
                </a:lnTo>
                <a:lnTo>
                  <a:pt x="2500" y="1599"/>
                </a:lnTo>
                <a:lnTo>
                  <a:pt x="2506" y="1599"/>
                </a:lnTo>
                <a:lnTo>
                  <a:pt x="2506" y="1604"/>
                </a:lnTo>
                <a:lnTo>
                  <a:pt x="2506" y="1610"/>
                </a:lnTo>
                <a:lnTo>
                  <a:pt x="2500" y="1610"/>
                </a:lnTo>
                <a:lnTo>
                  <a:pt x="2500" y="1616"/>
                </a:lnTo>
                <a:lnTo>
                  <a:pt x="2500" y="1610"/>
                </a:lnTo>
                <a:lnTo>
                  <a:pt x="2500" y="1616"/>
                </a:lnTo>
                <a:lnTo>
                  <a:pt x="2506" y="1616"/>
                </a:lnTo>
                <a:lnTo>
                  <a:pt x="2500" y="1616"/>
                </a:lnTo>
                <a:lnTo>
                  <a:pt x="2500" y="1621"/>
                </a:lnTo>
                <a:lnTo>
                  <a:pt x="2500" y="1627"/>
                </a:lnTo>
                <a:lnTo>
                  <a:pt x="2500" y="1633"/>
                </a:lnTo>
                <a:lnTo>
                  <a:pt x="2500" y="1638"/>
                </a:lnTo>
                <a:lnTo>
                  <a:pt x="2500" y="1633"/>
                </a:lnTo>
                <a:lnTo>
                  <a:pt x="2500" y="1638"/>
                </a:lnTo>
                <a:lnTo>
                  <a:pt x="2500" y="1644"/>
                </a:lnTo>
                <a:lnTo>
                  <a:pt x="2494" y="1650"/>
                </a:lnTo>
                <a:lnTo>
                  <a:pt x="2500" y="1650"/>
                </a:lnTo>
                <a:lnTo>
                  <a:pt x="2494" y="1650"/>
                </a:lnTo>
                <a:lnTo>
                  <a:pt x="2494" y="1655"/>
                </a:lnTo>
                <a:lnTo>
                  <a:pt x="2500" y="1655"/>
                </a:lnTo>
                <a:lnTo>
                  <a:pt x="2494" y="1655"/>
                </a:lnTo>
                <a:lnTo>
                  <a:pt x="2494" y="1661"/>
                </a:lnTo>
                <a:lnTo>
                  <a:pt x="2494" y="1667"/>
                </a:lnTo>
                <a:lnTo>
                  <a:pt x="2500" y="1667"/>
                </a:lnTo>
                <a:lnTo>
                  <a:pt x="2494" y="1672"/>
                </a:lnTo>
                <a:lnTo>
                  <a:pt x="2494" y="1678"/>
                </a:lnTo>
                <a:lnTo>
                  <a:pt x="2494" y="1684"/>
                </a:lnTo>
                <a:lnTo>
                  <a:pt x="2494" y="1689"/>
                </a:lnTo>
                <a:lnTo>
                  <a:pt x="2489" y="1689"/>
                </a:lnTo>
                <a:lnTo>
                  <a:pt x="2489" y="1695"/>
                </a:lnTo>
                <a:lnTo>
                  <a:pt x="2494" y="1695"/>
                </a:lnTo>
                <a:lnTo>
                  <a:pt x="2489" y="1695"/>
                </a:lnTo>
                <a:lnTo>
                  <a:pt x="2489" y="1701"/>
                </a:lnTo>
                <a:lnTo>
                  <a:pt x="2489" y="1706"/>
                </a:lnTo>
                <a:lnTo>
                  <a:pt x="2489" y="1712"/>
                </a:lnTo>
                <a:lnTo>
                  <a:pt x="2483" y="1712"/>
                </a:lnTo>
                <a:lnTo>
                  <a:pt x="2483" y="1718"/>
                </a:lnTo>
                <a:lnTo>
                  <a:pt x="2483" y="1723"/>
                </a:lnTo>
                <a:lnTo>
                  <a:pt x="2477" y="1723"/>
                </a:lnTo>
                <a:lnTo>
                  <a:pt x="2477" y="1729"/>
                </a:lnTo>
                <a:lnTo>
                  <a:pt x="2483" y="1735"/>
                </a:lnTo>
                <a:lnTo>
                  <a:pt x="2477" y="1735"/>
                </a:lnTo>
                <a:lnTo>
                  <a:pt x="2483" y="1735"/>
                </a:lnTo>
                <a:lnTo>
                  <a:pt x="2477" y="1735"/>
                </a:lnTo>
                <a:lnTo>
                  <a:pt x="2477" y="1740"/>
                </a:lnTo>
                <a:lnTo>
                  <a:pt x="2472" y="1740"/>
                </a:lnTo>
                <a:lnTo>
                  <a:pt x="2477" y="1740"/>
                </a:lnTo>
                <a:lnTo>
                  <a:pt x="2477" y="1746"/>
                </a:lnTo>
                <a:lnTo>
                  <a:pt x="2472" y="1746"/>
                </a:lnTo>
                <a:lnTo>
                  <a:pt x="2477" y="1752"/>
                </a:lnTo>
                <a:lnTo>
                  <a:pt x="2472" y="1752"/>
                </a:lnTo>
                <a:lnTo>
                  <a:pt x="2472" y="1757"/>
                </a:lnTo>
                <a:lnTo>
                  <a:pt x="2466" y="1757"/>
                </a:lnTo>
                <a:lnTo>
                  <a:pt x="2466" y="1763"/>
                </a:lnTo>
                <a:lnTo>
                  <a:pt x="2460" y="1763"/>
                </a:lnTo>
                <a:lnTo>
                  <a:pt x="2460" y="1769"/>
                </a:lnTo>
                <a:lnTo>
                  <a:pt x="2460" y="1774"/>
                </a:lnTo>
                <a:lnTo>
                  <a:pt x="2455" y="1774"/>
                </a:lnTo>
                <a:lnTo>
                  <a:pt x="2455" y="1780"/>
                </a:lnTo>
                <a:lnTo>
                  <a:pt x="2460" y="1780"/>
                </a:lnTo>
                <a:lnTo>
                  <a:pt x="2460" y="1786"/>
                </a:lnTo>
                <a:lnTo>
                  <a:pt x="2455" y="1786"/>
                </a:lnTo>
                <a:lnTo>
                  <a:pt x="2455" y="1791"/>
                </a:lnTo>
                <a:lnTo>
                  <a:pt x="2455" y="1797"/>
                </a:lnTo>
                <a:lnTo>
                  <a:pt x="2455" y="1803"/>
                </a:lnTo>
                <a:lnTo>
                  <a:pt x="2449" y="1803"/>
                </a:lnTo>
                <a:lnTo>
                  <a:pt x="2443" y="1803"/>
                </a:lnTo>
                <a:lnTo>
                  <a:pt x="2438" y="1803"/>
                </a:lnTo>
                <a:lnTo>
                  <a:pt x="2432" y="1803"/>
                </a:lnTo>
                <a:lnTo>
                  <a:pt x="2426" y="1803"/>
                </a:lnTo>
                <a:lnTo>
                  <a:pt x="2432" y="1803"/>
                </a:lnTo>
                <a:lnTo>
                  <a:pt x="2432" y="1797"/>
                </a:lnTo>
                <a:lnTo>
                  <a:pt x="2426" y="1797"/>
                </a:lnTo>
                <a:lnTo>
                  <a:pt x="2421" y="1797"/>
                </a:lnTo>
                <a:lnTo>
                  <a:pt x="2415" y="1797"/>
                </a:lnTo>
                <a:lnTo>
                  <a:pt x="2415" y="1791"/>
                </a:lnTo>
                <a:lnTo>
                  <a:pt x="2409" y="1791"/>
                </a:lnTo>
                <a:lnTo>
                  <a:pt x="2409" y="1797"/>
                </a:lnTo>
                <a:lnTo>
                  <a:pt x="2409" y="1791"/>
                </a:lnTo>
                <a:lnTo>
                  <a:pt x="2404" y="1791"/>
                </a:lnTo>
                <a:lnTo>
                  <a:pt x="2404" y="1786"/>
                </a:lnTo>
                <a:lnTo>
                  <a:pt x="2404" y="1780"/>
                </a:lnTo>
                <a:lnTo>
                  <a:pt x="2404" y="1774"/>
                </a:lnTo>
                <a:lnTo>
                  <a:pt x="2409" y="1769"/>
                </a:lnTo>
                <a:lnTo>
                  <a:pt x="2409" y="1763"/>
                </a:lnTo>
                <a:lnTo>
                  <a:pt x="2409" y="1757"/>
                </a:lnTo>
                <a:lnTo>
                  <a:pt x="2404" y="1757"/>
                </a:lnTo>
                <a:lnTo>
                  <a:pt x="2404" y="1763"/>
                </a:lnTo>
                <a:lnTo>
                  <a:pt x="2398" y="1763"/>
                </a:lnTo>
                <a:lnTo>
                  <a:pt x="2392" y="1763"/>
                </a:lnTo>
                <a:lnTo>
                  <a:pt x="2392" y="1769"/>
                </a:lnTo>
                <a:lnTo>
                  <a:pt x="2387" y="1769"/>
                </a:lnTo>
                <a:lnTo>
                  <a:pt x="2387" y="1763"/>
                </a:lnTo>
                <a:lnTo>
                  <a:pt x="2381" y="1763"/>
                </a:lnTo>
                <a:lnTo>
                  <a:pt x="2387" y="1763"/>
                </a:lnTo>
                <a:lnTo>
                  <a:pt x="2387" y="1757"/>
                </a:lnTo>
                <a:lnTo>
                  <a:pt x="2387" y="1752"/>
                </a:lnTo>
                <a:lnTo>
                  <a:pt x="2392" y="1752"/>
                </a:lnTo>
                <a:lnTo>
                  <a:pt x="2392" y="1746"/>
                </a:lnTo>
                <a:lnTo>
                  <a:pt x="2392" y="1740"/>
                </a:lnTo>
                <a:lnTo>
                  <a:pt x="2392" y="1735"/>
                </a:lnTo>
                <a:lnTo>
                  <a:pt x="2387" y="1735"/>
                </a:lnTo>
                <a:lnTo>
                  <a:pt x="2387" y="1729"/>
                </a:lnTo>
                <a:lnTo>
                  <a:pt x="2381" y="1729"/>
                </a:lnTo>
                <a:lnTo>
                  <a:pt x="2381" y="1723"/>
                </a:lnTo>
                <a:lnTo>
                  <a:pt x="2381" y="1729"/>
                </a:lnTo>
                <a:lnTo>
                  <a:pt x="2375" y="1729"/>
                </a:lnTo>
                <a:lnTo>
                  <a:pt x="2375" y="1723"/>
                </a:lnTo>
                <a:lnTo>
                  <a:pt x="2370" y="1723"/>
                </a:lnTo>
                <a:lnTo>
                  <a:pt x="2364" y="1723"/>
                </a:lnTo>
                <a:lnTo>
                  <a:pt x="2364" y="1718"/>
                </a:lnTo>
                <a:lnTo>
                  <a:pt x="2364" y="1712"/>
                </a:lnTo>
                <a:lnTo>
                  <a:pt x="2364" y="1718"/>
                </a:lnTo>
                <a:lnTo>
                  <a:pt x="2364" y="1723"/>
                </a:lnTo>
                <a:lnTo>
                  <a:pt x="2358" y="1723"/>
                </a:lnTo>
                <a:lnTo>
                  <a:pt x="2358" y="1718"/>
                </a:lnTo>
                <a:lnTo>
                  <a:pt x="2353" y="1718"/>
                </a:lnTo>
                <a:lnTo>
                  <a:pt x="2347" y="1718"/>
                </a:lnTo>
                <a:lnTo>
                  <a:pt x="2347" y="1723"/>
                </a:lnTo>
                <a:lnTo>
                  <a:pt x="2341" y="1723"/>
                </a:lnTo>
                <a:lnTo>
                  <a:pt x="2336" y="1723"/>
                </a:lnTo>
                <a:lnTo>
                  <a:pt x="2330" y="1723"/>
                </a:lnTo>
                <a:lnTo>
                  <a:pt x="2330" y="1718"/>
                </a:lnTo>
                <a:lnTo>
                  <a:pt x="2330" y="1712"/>
                </a:lnTo>
                <a:lnTo>
                  <a:pt x="2324" y="1712"/>
                </a:lnTo>
                <a:lnTo>
                  <a:pt x="2324" y="1718"/>
                </a:lnTo>
                <a:lnTo>
                  <a:pt x="2324" y="1712"/>
                </a:lnTo>
                <a:lnTo>
                  <a:pt x="2324" y="1718"/>
                </a:lnTo>
                <a:lnTo>
                  <a:pt x="2319" y="1718"/>
                </a:lnTo>
                <a:lnTo>
                  <a:pt x="2319" y="1712"/>
                </a:lnTo>
                <a:lnTo>
                  <a:pt x="2313" y="1712"/>
                </a:lnTo>
                <a:lnTo>
                  <a:pt x="2307" y="1712"/>
                </a:lnTo>
                <a:lnTo>
                  <a:pt x="2307" y="1718"/>
                </a:lnTo>
                <a:lnTo>
                  <a:pt x="2302" y="1718"/>
                </a:lnTo>
                <a:lnTo>
                  <a:pt x="2307" y="1718"/>
                </a:lnTo>
                <a:lnTo>
                  <a:pt x="2307" y="1723"/>
                </a:lnTo>
                <a:lnTo>
                  <a:pt x="2302" y="1729"/>
                </a:lnTo>
                <a:lnTo>
                  <a:pt x="2307" y="1729"/>
                </a:lnTo>
                <a:lnTo>
                  <a:pt x="2302" y="1729"/>
                </a:lnTo>
                <a:lnTo>
                  <a:pt x="2302" y="1735"/>
                </a:lnTo>
                <a:lnTo>
                  <a:pt x="2302" y="1740"/>
                </a:lnTo>
                <a:lnTo>
                  <a:pt x="2307" y="1740"/>
                </a:lnTo>
                <a:lnTo>
                  <a:pt x="2307" y="1746"/>
                </a:lnTo>
                <a:lnTo>
                  <a:pt x="2313" y="1746"/>
                </a:lnTo>
                <a:lnTo>
                  <a:pt x="2313" y="1740"/>
                </a:lnTo>
                <a:lnTo>
                  <a:pt x="2319" y="1740"/>
                </a:lnTo>
                <a:lnTo>
                  <a:pt x="2319" y="1746"/>
                </a:lnTo>
                <a:lnTo>
                  <a:pt x="2313" y="1746"/>
                </a:lnTo>
                <a:lnTo>
                  <a:pt x="2313" y="1752"/>
                </a:lnTo>
                <a:lnTo>
                  <a:pt x="2319" y="1752"/>
                </a:lnTo>
                <a:lnTo>
                  <a:pt x="2313" y="1752"/>
                </a:lnTo>
                <a:lnTo>
                  <a:pt x="2313" y="1757"/>
                </a:lnTo>
                <a:lnTo>
                  <a:pt x="2319" y="1757"/>
                </a:lnTo>
                <a:lnTo>
                  <a:pt x="2324" y="1757"/>
                </a:lnTo>
                <a:lnTo>
                  <a:pt x="2330" y="1757"/>
                </a:lnTo>
                <a:lnTo>
                  <a:pt x="2330" y="1763"/>
                </a:lnTo>
                <a:lnTo>
                  <a:pt x="2330" y="1757"/>
                </a:lnTo>
                <a:lnTo>
                  <a:pt x="2336" y="1757"/>
                </a:lnTo>
                <a:lnTo>
                  <a:pt x="2336" y="1763"/>
                </a:lnTo>
                <a:lnTo>
                  <a:pt x="2341" y="1763"/>
                </a:lnTo>
                <a:lnTo>
                  <a:pt x="2341" y="1769"/>
                </a:lnTo>
                <a:lnTo>
                  <a:pt x="2336" y="1769"/>
                </a:lnTo>
                <a:lnTo>
                  <a:pt x="2336" y="1774"/>
                </a:lnTo>
                <a:lnTo>
                  <a:pt x="2336" y="1780"/>
                </a:lnTo>
                <a:lnTo>
                  <a:pt x="2336" y="1774"/>
                </a:lnTo>
                <a:lnTo>
                  <a:pt x="2336" y="1780"/>
                </a:lnTo>
                <a:lnTo>
                  <a:pt x="2330" y="1780"/>
                </a:lnTo>
                <a:lnTo>
                  <a:pt x="2324" y="1780"/>
                </a:lnTo>
                <a:lnTo>
                  <a:pt x="2324" y="1774"/>
                </a:lnTo>
                <a:lnTo>
                  <a:pt x="2324" y="1780"/>
                </a:lnTo>
                <a:lnTo>
                  <a:pt x="2319" y="1780"/>
                </a:lnTo>
                <a:lnTo>
                  <a:pt x="2319" y="1786"/>
                </a:lnTo>
                <a:lnTo>
                  <a:pt x="2313" y="1786"/>
                </a:lnTo>
                <a:lnTo>
                  <a:pt x="2307" y="1786"/>
                </a:lnTo>
                <a:lnTo>
                  <a:pt x="2307" y="1780"/>
                </a:lnTo>
                <a:lnTo>
                  <a:pt x="2302" y="1780"/>
                </a:lnTo>
                <a:lnTo>
                  <a:pt x="2302" y="1786"/>
                </a:lnTo>
                <a:lnTo>
                  <a:pt x="2296" y="1786"/>
                </a:lnTo>
                <a:lnTo>
                  <a:pt x="2296" y="1791"/>
                </a:lnTo>
                <a:lnTo>
                  <a:pt x="2296" y="1797"/>
                </a:lnTo>
                <a:lnTo>
                  <a:pt x="2290" y="1797"/>
                </a:lnTo>
                <a:lnTo>
                  <a:pt x="2290" y="1803"/>
                </a:lnTo>
                <a:lnTo>
                  <a:pt x="2285" y="1803"/>
                </a:lnTo>
                <a:lnTo>
                  <a:pt x="2279" y="1803"/>
                </a:lnTo>
                <a:lnTo>
                  <a:pt x="2273" y="1803"/>
                </a:lnTo>
                <a:lnTo>
                  <a:pt x="2273" y="1808"/>
                </a:lnTo>
                <a:lnTo>
                  <a:pt x="2268" y="1808"/>
                </a:lnTo>
                <a:lnTo>
                  <a:pt x="2262" y="1808"/>
                </a:lnTo>
                <a:lnTo>
                  <a:pt x="2262" y="1814"/>
                </a:lnTo>
                <a:lnTo>
                  <a:pt x="2256" y="1814"/>
                </a:lnTo>
                <a:lnTo>
                  <a:pt x="2256" y="1820"/>
                </a:lnTo>
                <a:lnTo>
                  <a:pt x="2251" y="1820"/>
                </a:lnTo>
                <a:lnTo>
                  <a:pt x="2245" y="1820"/>
                </a:lnTo>
                <a:lnTo>
                  <a:pt x="2245" y="1825"/>
                </a:lnTo>
                <a:lnTo>
                  <a:pt x="2239" y="1825"/>
                </a:lnTo>
                <a:lnTo>
                  <a:pt x="2239" y="1820"/>
                </a:lnTo>
                <a:lnTo>
                  <a:pt x="2234" y="1820"/>
                </a:lnTo>
                <a:lnTo>
                  <a:pt x="2228" y="1820"/>
                </a:lnTo>
                <a:lnTo>
                  <a:pt x="2222" y="1820"/>
                </a:lnTo>
                <a:lnTo>
                  <a:pt x="2222" y="1825"/>
                </a:lnTo>
                <a:lnTo>
                  <a:pt x="2217" y="1825"/>
                </a:lnTo>
                <a:lnTo>
                  <a:pt x="2217" y="1831"/>
                </a:lnTo>
                <a:lnTo>
                  <a:pt x="2211" y="1831"/>
                </a:lnTo>
                <a:lnTo>
                  <a:pt x="2205" y="1831"/>
                </a:lnTo>
                <a:lnTo>
                  <a:pt x="2205" y="1837"/>
                </a:lnTo>
                <a:lnTo>
                  <a:pt x="2205" y="1842"/>
                </a:lnTo>
                <a:lnTo>
                  <a:pt x="2205" y="1848"/>
                </a:lnTo>
                <a:lnTo>
                  <a:pt x="2205" y="1854"/>
                </a:lnTo>
                <a:lnTo>
                  <a:pt x="2200" y="1854"/>
                </a:lnTo>
                <a:lnTo>
                  <a:pt x="2194" y="1854"/>
                </a:lnTo>
                <a:lnTo>
                  <a:pt x="2194" y="1859"/>
                </a:lnTo>
                <a:lnTo>
                  <a:pt x="2188" y="1859"/>
                </a:lnTo>
                <a:lnTo>
                  <a:pt x="2183" y="1859"/>
                </a:lnTo>
                <a:lnTo>
                  <a:pt x="2177" y="1859"/>
                </a:lnTo>
                <a:lnTo>
                  <a:pt x="2171" y="1859"/>
                </a:lnTo>
                <a:lnTo>
                  <a:pt x="2166" y="1859"/>
                </a:lnTo>
                <a:lnTo>
                  <a:pt x="2160" y="1859"/>
                </a:lnTo>
                <a:lnTo>
                  <a:pt x="2154" y="1859"/>
                </a:lnTo>
                <a:lnTo>
                  <a:pt x="2154" y="1865"/>
                </a:lnTo>
                <a:lnTo>
                  <a:pt x="2149" y="1865"/>
                </a:lnTo>
                <a:lnTo>
                  <a:pt x="2143" y="1865"/>
                </a:lnTo>
                <a:lnTo>
                  <a:pt x="2143" y="1859"/>
                </a:lnTo>
                <a:lnTo>
                  <a:pt x="2137" y="1859"/>
                </a:lnTo>
                <a:lnTo>
                  <a:pt x="2137" y="1865"/>
                </a:lnTo>
                <a:lnTo>
                  <a:pt x="2132" y="1865"/>
                </a:lnTo>
                <a:lnTo>
                  <a:pt x="2132" y="1871"/>
                </a:lnTo>
                <a:lnTo>
                  <a:pt x="2126" y="1871"/>
                </a:lnTo>
                <a:lnTo>
                  <a:pt x="2120" y="1871"/>
                </a:lnTo>
                <a:lnTo>
                  <a:pt x="2115" y="1871"/>
                </a:lnTo>
                <a:lnTo>
                  <a:pt x="2109" y="1871"/>
                </a:lnTo>
                <a:lnTo>
                  <a:pt x="2109" y="1876"/>
                </a:lnTo>
                <a:lnTo>
                  <a:pt x="2103" y="1876"/>
                </a:lnTo>
                <a:lnTo>
                  <a:pt x="2109" y="1876"/>
                </a:lnTo>
                <a:lnTo>
                  <a:pt x="2109" y="1882"/>
                </a:lnTo>
                <a:lnTo>
                  <a:pt x="2109" y="1888"/>
                </a:lnTo>
                <a:lnTo>
                  <a:pt x="2109" y="1893"/>
                </a:lnTo>
                <a:lnTo>
                  <a:pt x="2103" y="1893"/>
                </a:lnTo>
                <a:lnTo>
                  <a:pt x="2103" y="1899"/>
                </a:lnTo>
                <a:lnTo>
                  <a:pt x="2103" y="1905"/>
                </a:lnTo>
                <a:lnTo>
                  <a:pt x="2098" y="1905"/>
                </a:lnTo>
                <a:lnTo>
                  <a:pt x="2098" y="1910"/>
                </a:lnTo>
                <a:lnTo>
                  <a:pt x="2092" y="1910"/>
                </a:lnTo>
                <a:lnTo>
                  <a:pt x="2092" y="1916"/>
                </a:lnTo>
                <a:lnTo>
                  <a:pt x="2092" y="1922"/>
                </a:lnTo>
                <a:lnTo>
                  <a:pt x="2086" y="1922"/>
                </a:lnTo>
                <a:lnTo>
                  <a:pt x="2086" y="1916"/>
                </a:lnTo>
                <a:lnTo>
                  <a:pt x="2086" y="1922"/>
                </a:lnTo>
                <a:lnTo>
                  <a:pt x="2086" y="1916"/>
                </a:lnTo>
                <a:lnTo>
                  <a:pt x="2081" y="1916"/>
                </a:lnTo>
                <a:lnTo>
                  <a:pt x="2075" y="1916"/>
                </a:lnTo>
                <a:lnTo>
                  <a:pt x="2075" y="1910"/>
                </a:lnTo>
                <a:lnTo>
                  <a:pt x="2075" y="1905"/>
                </a:lnTo>
                <a:lnTo>
                  <a:pt x="2069" y="1905"/>
                </a:lnTo>
                <a:lnTo>
                  <a:pt x="2069" y="1899"/>
                </a:lnTo>
                <a:lnTo>
                  <a:pt x="2069" y="1905"/>
                </a:lnTo>
                <a:lnTo>
                  <a:pt x="2064" y="1905"/>
                </a:lnTo>
                <a:lnTo>
                  <a:pt x="2064" y="1899"/>
                </a:lnTo>
                <a:lnTo>
                  <a:pt x="2064" y="1905"/>
                </a:lnTo>
                <a:lnTo>
                  <a:pt x="2064" y="1910"/>
                </a:lnTo>
                <a:lnTo>
                  <a:pt x="2064" y="1916"/>
                </a:lnTo>
                <a:lnTo>
                  <a:pt x="2058" y="1916"/>
                </a:lnTo>
                <a:lnTo>
                  <a:pt x="2052" y="1916"/>
                </a:lnTo>
                <a:lnTo>
                  <a:pt x="2052" y="1922"/>
                </a:lnTo>
                <a:lnTo>
                  <a:pt x="2052" y="1927"/>
                </a:lnTo>
                <a:lnTo>
                  <a:pt x="2052" y="1933"/>
                </a:lnTo>
                <a:lnTo>
                  <a:pt x="2047" y="1933"/>
                </a:lnTo>
                <a:lnTo>
                  <a:pt x="2041" y="1933"/>
                </a:lnTo>
                <a:lnTo>
                  <a:pt x="2041" y="1927"/>
                </a:lnTo>
                <a:lnTo>
                  <a:pt x="2035" y="1927"/>
                </a:lnTo>
                <a:lnTo>
                  <a:pt x="2030" y="1927"/>
                </a:lnTo>
                <a:lnTo>
                  <a:pt x="2030" y="1933"/>
                </a:lnTo>
                <a:lnTo>
                  <a:pt x="2024" y="1933"/>
                </a:lnTo>
                <a:lnTo>
                  <a:pt x="2030" y="1933"/>
                </a:lnTo>
                <a:lnTo>
                  <a:pt x="2030" y="1939"/>
                </a:lnTo>
                <a:lnTo>
                  <a:pt x="2024" y="1939"/>
                </a:lnTo>
                <a:lnTo>
                  <a:pt x="2024" y="1944"/>
                </a:lnTo>
                <a:lnTo>
                  <a:pt x="2024" y="1950"/>
                </a:lnTo>
                <a:lnTo>
                  <a:pt x="2024" y="1956"/>
                </a:lnTo>
                <a:lnTo>
                  <a:pt x="2018" y="1956"/>
                </a:lnTo>
                <a:lnTo>
                  <a:pt x="2018" y="1961"/>
                </a:lnTo>
                <a:lnTo>
                  <a:pt x="2018" y="1967"/>
                </a:lnTo>
                <a:lnTo>
                  <a:pt x="2013" y="1967"/>
                </a:lnTo>
                <a:lnTo>
                  <a:pt x="2007" y="1967"/>
                </a:lnTo>
                <a:lnTo>
                  <a:pt x="2001" y="1967"/>
                </a:lnTo>
                <a:lnTo>
                  <a:pt x="2001" y="1961"/>
                </a:lnTo>
                <a:lnTo>
                  <a:pt x="1996" y="1961"/>
                </a:lnTo>
                <a:lnTo>
                  <a:pt x="1996" y="1967"/>
                </a:lnTo>
                <a:lnTo>
                  <a:pt x="1990" y="1967"/>
                </a:lnTo>
                <a:lnTo>
                  <a:pt x="1984" y="1967"/>
                </a:lnTo>
                <a:lnTo>
                  <a:pt x="1979" y="1967"/>
                </a:lnTo>
                <a:lnTo>
                  <a:pt x="1973" y="1967"/>
                </a:lnTo>
                <a:lnTo>
                  <a:pt x="1973" y="1973"/>
                </a:lnTo>
                <a:lnTo>
                  <a:pt x="1967" y="1978"/>
                </a:lnTo>
                <a:lnTo>
                  <a:pt x="1967" y="1984"/>
                </a:lnTo>
                <a:lnTo>
                  <a:pt x="1967" y="1990"/>
                </a:lnTo>
                <a:lnTo>
                  <a:pt x="1973" y="1990"/>
                </a:lnTo>
                <a:lnTo>
                  <a:pt x="1973" y="1995"/>
                </a:lnTo>
                <a:lnTo>
                  <a:pt x="1967" y="1995"/>
                </a:lnTo>
                <a:lnTo>
                  <a:pt x="1962" y="1995"/>
                </a:lnTo>
                <a:lnTo>
                  <a:pt x="1962" y="2001"/>
                </a:lnTo>
                <a:lnTo>
                  <a:pt x="1962" y="2007"/>
                </a:lnTo>
                <a:lnTo>
                  <a:pt x="1956" y="2007"/>
                </a:lnTo>
                <a:lnTo>
                  <a:pt x="1950" y="2007"/>
                </a:lnTo>
                <a:lnTo>
                  <a:pt x="1950" y="2012"/>
                </a:lnTo>
                <a:lnTo>
                  <a:pt x="1950" y="2007"/>
                </a:lnTo>
                <a:lnTo>
                  <a:pt x="1945" y="2007"/>
                </a:lnTo>
                <a:lnTo>
                  <a:pt x="1939" y="2007"/>
                </a:lnTo>
                <a:lnTo>
                  <a:pt x="1939" y="2001"/>
                </a:lnTo>
                <a:lnTo>
                  <a:pt x="1933" y="2001"/>
                </a:lnTo>
                <a:lnTo>
                  <a:pt x="1927" y="2001"/>
                </a:lnTo>
                <a:lnTo>
                  <a:pt x="1927" y="1995"/>
                </a:lnTo>
                <a:lnTo>
                  <a:pt x="1922" y="1995"/>
                </a:lnTo>
                <a:lnTo>
                  <a:pt x="1922" y="1990"/>
                </a:lnTo>
                <a:lnTo>
                  <a:pt x="1916" y="1990"/>
                </a:lnTo>
                <a:lnTo>
                  <a:pt x="1916" y="1995"/>
                </a:lnTo>
                <a:lnTo>
                  <a:pt x="1910" y="1995"/>
                </a:lnTo>
                <a:lnTo>
                  <a:pt x="1910" y="2001"/>
                </a:lnTo>
                <a:lnTo>
                  <a:pt x="1910" y="1995"/>
                </a:lnTo>
                <a:lnTo>
                  <a:pt x="1905" y="1995"/>
                </a:lnTo>
                <a:lnTo>
                  <a:pt x="1893" y="2001"/>
                </a:lnTo>
                <a:lnTo>
                  <a:pt x="1888" y="2001"/>
                </a:lnTo>
                <a:lnTo>
                  <a:pt x="1888" y="2007"/>
                </a:lnTo>
                <a:lnTo>
                  <a:pt x="1888" y="2012"/>
                </a:lnTo>
                <a:lnTo>
                  <a:pt x="1882" y="2012"/>
                </a:lnTo>
                <a:lnTo>
                  <a:pt x="1882" y="2018"/>
                </a:lnTo>
                <a:lnTo>
                  <a:pt x="1882" y="2012"/>
                </a:lnTo>
                <a:lnTo>
                  <a:pt x="1876" y="2012"/>
                </a:lnTo>
                <a:lnTo>
                  <a:pt x="1871" y="2012"/>
                </a:lnTo>
                <a:lnTo>
                  <a:pt x="1865" y="2012"/>
                </a:lnTo>
                <a:lnTo>
                  <a:pt x="1859" y="2012"/>
                </a:lnTo>
                <a:lnTo>
                  <a:pt x="1854" y="2012"/>
                </a:lnTo>
                <a:lnTo>
                  <a:pt x="1854" y="2018"/>
                </a:lnTo>
                <a:lnTo>
                  <a:pt x="1854" y="2012"/>
                </a:lnTo>
                <a:lnTo>
                  <a:pt x="1848" y="2012"/>
                </a:lnTo>
                <a:lnTo>
                  <a:pt x="1848" y="2018"/>
                </a:lnTo>
                <a:lnTo>
                  <a:pt x="1842" y="2018"/>
                </a:lnTo>
                <a:lnTo>
                  <a:pt x="1837" y="2018"/>
                </a:lnTo>
                <a:lnTo>
                  <a:pt x="1831" y="2018"/>
                </a:lnTo>
                <a:lnTo>
                  <a:pt x="1831" y="2024"/>
                </a:lnTo>
                <a:lnTo>
                  <a:pt x="1825" y="2024"/>
                </a:lnTo>
                <a:lnTo>
                  <a:pt x="1825" y="2029"/>
                </a:lnTo>
                <a:lnTo>
                  <a:pt x="1825" y="2035"/>
                </a:lnTo>
                <a:lnTo>
                  <a:pt x="1825" y="2041"/>
                </a:lnTo>
                <a:lnTo>
                  <a:pt x="1820" y="2041"/>
                </a:lnTo>
                <a:lnTo>
                  <a:pt x="1814" y="2041"/>
                </a:lnTo>
                <a:lnTo>
                  <a:pt x="1814" y="2046"/>
                </a:lnTo>
                <a:lnTo>
                  <a:pt x="1808" y="2046"/>
                </a:lnTo>
                <a:lnTo>
                  <a:pt x="1808" y="2052"/>
                </a:lnTo>
                <a:lnTo>
                  <a:pt x="1803" y="2052"/>
                </a:lnTo>
                <a:lnTo>
                  <a:pt x="1797" y="2052"/>
                </a:lnTo>
                <a:lnTo>
                  <a:pt x="1797" y="2058"/>
                </a:lnTo>
                <a:lnTo>
                  <a:pt x="1803" y="2058"/>
                </a:lnTo>
                <a:lnTo>
                  <a:pt x="1797" y="2058"/>
                </a:lnTo>
                <a:lnTo>
                  <a:pt x="1803" y="2064"/>
                </a:lnTo>
                <a:lnTo>
                  <a:pt x="1803" y="2069"/>
                </a:lnTo>
                <a:lnTo>
                  <a:pt x="1797" y="2069"/>
                </a:lnTo>
                <a:lnTo>
                  <a:pt x="1791" y="2069"/>
                </a:lnTo>
                <a:lnTo>
                  <a:pt x="1791" y="2075"/>
                </a:lnTo>
                <a:lnTo>
                  <a:pt x="1791" y="2081"/>
                </a:lnTo>
                <a:lnTo>
                  <a:pt x="1786" y="2081"/>
                </a:lnTo>
                <a:lnTo>
                  <a:pt x="1786" y="2086"/>
                </a:lnTo>
                <a:lnTo>
                  <a:pt x="1791" y="2086"/>
                </a:lnTo>
                <a:lnTo>
                  <a:pt x="1791" y="2092"/>
                </a:lnTo>
                <a:lnTo>
                  <a:pt x="1791" y="2086"/>
                </a:lnTo>
                <a:lnTo>
                  <a:pt x="1791" y="2092"/>
                </a:lnTo>
                <a:lnTo>
                  <a:pt x="1786" y="2092"/>
                </a:lnTo>
                <a:lnTo>
                  <a:pt x="1780" y="2092"/>
                </a:lnTo>
                <a:lnTo>
                  <a:pt x="1780" y="2098"/>
                </a:lnTo>
                <a:lnTo>
                  <a:pt x="1786" y="2098"/>
                </a:lnTo>
                <a:lnTo>
                  <a:pt x="1786" y="2103"/>
                </a:lnTo>
                <a:lnTo>
                  <a:pt x="1780" y="2098"/>
                </a:lnTo>
                <a:lnTo>
                  <a:pt x="1780" y="2103"/>
                </a:lnTo>
                <a:lnTo>
                  <a:pt x="1780" y="2109"/>
                </a:lnTo>
                <a:lnTo>
                  <a:pt x="1786" y="2109"/>
                </a:lnTo>
                <a:lnTo>
                  <a:pt x="1780" y="2109"/>
                </a:lnTo>
                <a:lnTo>
                  <a:pt x="1786" y="2109"/>
                </a:lnTo>
                <a:lnTo>
                  <a:pt x="1786" y="2115"/>
                </a:lnTo>
                <a:lnTo>
                  <a:pt x="1780" y="2115"/>
                </a:lnTo>
                <a:lnTo>
                  <a:pt x="1780" y="2120"/>
                </a:lnTo>
                <a:lnTo>
                  <a:pt x="1786" y="2120"/>
                </a:lnTo>
                <a:lnTo>
                  <a:pt x="1780" y="2120"/>
                </a:lnTo>
                <a:lnTo>
                  <a:pt x="1774" y="2120"/>
                </a:lnTo>
                <a:lnTo>
                  <a:pt x="1769" y="2120"/>
                </a:lnTo>
                <a:lnTo>
                  <a:pt x="1774" y="2120"/>
                </a:lnTo>
                <a:lnTo>
                  <a:pt x="1769" y="2120"/>
                </a:lnTo>
                <a:lnTo>
                  <a:pt x="1769" y="2115"/>
                </a:lnTo>
                <a:lnTo>
                  <a:pt x="1774" y="2115"/>
                </a:lnTo>
                <a:lnTo>
                  <a:pt x="1769" y="2115"/>
                </a:lnTo>
                <a:lnTo>
                  <a:pt x="1769" y="2109"/>
                </a:lnTo>
                <a:lnTo>
                  <a:pt x="1769" y="2103"/>
                </a:lnTo>
                <a:lnTo>
                  <a:pt x="1769" y="2098"/>
                </a:lnTo>
                <a:lnTo>
                  <a:pt x="1774" y="2098"/>
                </a:lnTo>
                <a:lnTo>
                  <a:pt x="1769" y="2098"/>
                </a:lnTo>
                <a:lnTo>
                  <a:pt x="1769" y="2092"/>
                </a:lnTo>
                <a:lnTo>
                  <a:pt x="1763" y="2092"/>
                </a:lnTo>
                <a:lnTo>
                  <a:pt x="1757" y="2092"/>
                </a:lnTo>
                <a:lnTo>
                  <a:pt x="1757" y="2086"/>
                </a:lnTo>
                <a:lnTo>
                  <a:pt x="1757" y="2081"/>
                </a:lnTo>
                <a:lnTo>
                  <a:pt x="1757" y="2086"/>
                </a:lnTo>
                <a:lnTo>
                  <a:pt x="1763" y="2086"/>
                </a:lnTo>
                <a:lnTo>
                  <a:pt x="1763" y="2081"/>
                </a:lnTo>
                <a:lnTo>
                  <a:pt x="1757" y="2081"/>
                </a:lnTo>
                <a:lnTo>
                  <a:pt x="1757" y="2075"/>
                </a:lnTo>
                <a:lnTo>
                  <a:pt x="1757" y="2081"/>
                </a:lnTo>
                <a:lnTo>
                  <a:pt x="1757" y="2075"/>
                </a:lnTo>
                <a:lnTo>
                  <a:pt x="1757" y="2081"/>
                </a:lnTo>
                <a:lnTo>
                  <a:pt x="1752" y="2081"/>
                </a:lnTo>
                <a:lnTo>
                  <a:pt x="1752" y="2075"/>
                </a:lnTo>
                <a:lnTo>
                  <a:pt x="1752" y="2081"/>
                </a:lnTo>
                <a:lnTo>
                  <a:pt x="1746" y="2081"/>
                </a:lnTo>
                <a:lnTo>
                  <a:pt x="1746" y="2075"/>
                </a:lnTo>
                <a:lnTo>
                  <a:pt x="1746" y="2069"/>
                </a:lnTo>
                <a:lnTo>
                  <a:pt x="1740" y="2069"/>
                </a:lnTo>
                <a:lnTo>
                  <a:pt x="1746" y="2069"/>
                </a:lnTo>
                <a:lnTo>
                  <a:pt x="1746" y="2064"/>
                </a:lnTo>
                <a:lnTo>
                  <a:pt x="1740" y="2064"/>
                </a:lnTo>
                <a:lnTo>
                  <a:pt x="1740" y="2058"/>
                </a:lnTo>
                <a:lnTo>
                  <a:pt x="1735" y="2058"/>
                </a:lnTo>
                <a:lnTo>
                  <a:pt x="1729" y="2058"/>
                </a:lnTo>
                <a:lnTo>
                  <a:pt x="1723" y="2058"/>
                </a:lnTo>
                <a:lnTo>
                  <a:pt x="1718" y="2058"/>
                </a:lnTo>
                <a:lnTo>
                  <a:pt x="1723" y="2058"/>
                </a:lnTo>
                <a:lnTo>
                  <a:pt x="1718" y="2058"/>
                </a:lnTo>
                <a:lnTo>
                  <a:pt x="1723" y="2058"/>
                </a:lnTo>
                <a:lnTo>
                  <a:pt x="1723" y="2064"/>
                </a:lnTo>
                <a:lnTo>
                  <a:pt x="1723" y="2069"/>
                </a:lnTo>
                <a:lnTo>
                  <a:pt x="1723" y="2075"/>
                </a:lnTo>
                <a:lnTo>
                  <a:pt x="1729" y="2075"/>
                </a:lnTo>
                <a:lnTo>
                  <a:pt x="1729" y="2081"/>
                </a:lnTo>
                <a:lnTo>
                  <a:pt x="1723" y="2081"/>
                </a:lnTo>
                <a:lnTo>
                  <a:pt x="1718" y="2081"/>
                </a:lnTo>
                <a:lnTo>
                  <a:pt x="1718" y="2086"/>
                </a:lnTo>
                <a:lnTo>
                  <a:pt x="1712" y="2086"/>
                </a:lnTo>
                <a:lnTo>
                  <a:pt x="1718" y="2086"/>
                </a:lnTo>
                <a:lnTo>
                  <a:pt x="1718" y="2092"/>
                </a:lnTo>
                <a:lnTo>
                  <a:pt x="1723" y="2092"/>
                </a:lnTo>
                <a:lnTo>
                  <a:pt x="1723" y="2098"/>
                </a:lnTo>
                <a:lnTo>
                  <a:pt x="1729" y="2098"/>
                </a:lnTo>
                <a:lnTo>
                  <a:pt x="1729" y="2092"/>
                </a:lnTo>
                <a:lnTo>
                  <a:pt x="1735" y="2092"/>
                </a:lnTo>
                <a:lnTo>
                  <a:pt x="1729" y="2092"/>
                </a:lnTo>
                <a:lnTo>
                  <a:pt x="1729" y="2098"/>
                </a:lnTo>
                <a:lnTo>
                  <a:pt x="1735" y="2098"/>
                </a:lnTo>
                <a:lnTo>
                  <a:pt x="1735" y="2103"/>
                </a:lnTo>
                <a:lnTo>
                  <a:pt x="1740" y="2103"/>
                </a:lnTo>
                <a:lnTo>
                  <a:pt x="1740" y="2109"/>
                </a:lnTo>
                <a:lnTo>
                  <a:pt x="1746" y="2109"/>
                </a:lnTo>
                <a:lnTo>
                  <a:pt x="1740" y="2109"/>
                </a:lnTo>
                <a:lnTo>
                  <a:pt x="1746" y="2109"/>
                </a:lnTo>
                <a:lnTo>
                  <a:pt x="1746" y="2115"/>
                </a:lnTo>
                <a:lnTo>
                  <a:pt x="1746" y="2120"/>
                </a:lnTo>
                <a:lnTo>
                  <a:pt x="1752" y="2120"/>
                </a:lnTo>
                <a:lnTo>
                  <a:pt x="1752" y="2126"/>
                </a:lnTo>
                <a:lnTo>
                  <a:pt x="1746" y="2126"/>
                </a:lnTo>
                <a:lnTo>
                  <a:pt x="1746" y="2132"/>
                </a:lnTo>
                <a:lnTo>
                  <a:pt x="1746" y="2137"/>
                </a:lnTo>
                <a:lnTo>
                  <a:pt x="1746" y="2143"/>
                </a:lnTo>
                <a:lnTo>
                  <a:pt x="1746" y="2149"/>
                </a:lnTo>
                <a:lnTo>
                  <a:pt x="1752" y="2149"/>
                </a:lnTo>
                <a:lnTo>
                  <a:pt x="1752" y="2154"/>
                </a:lnTo>
                <a:lnTo>
                  <a:pt x="1752" y="2149"/>
                </a:lnTo>
                <a:lnTo>
                  <a:pt x="1757" y="2149"/>
                </a:lnTo>
                <a:lnTo>
                  <a:pt x="1757" y="2154"/>
                </a:lnTo>
                <a:lnTo>
                  <a:pt x="1763" y="2154"/>
                </a:lnTo>
                <a:lnTo>
                  <a:pt x="1757" y="2154"/>
                </a:lnTo>
                <a:lnTo>
                  <a:pt x="1763" y="2154"/>
                </a:lnTo>
                <a:lnTo>
                  <a:pt x="1763" y="2160"/>
                </a:lnTo>
                <a:lnTo>
                  <a:pt x="1769" y="2160"/>
                </a:lnTo>
                <a:lnTo>
                  <a:pt x="1769" y="2166"/>
                </a:lnTo>
                <a:lnTo>
                  <a:pt x="1763" y="2166"/>
                </a:lnTo>
                <a:lnTo>
                  <a:pt x="1763" y="2171"/>
                </a:lnTo>
                <a:lnTo>
                  <a:pt x="1769" y="2171"/>
                </a:lnTo>
                <a:lnTo>
                  <a:pt x="1774" y="2171"/>
                </a:lnTo>
                <a:lnTo>
                  <a:pt x="1780" y="2171"/>
                </a:lnTo>
                <a:lnTo>
                  <a:pt x="1780" y="2177"/>
                </a:lnTo>
                <a:lnTo>
                  <a:pt x="1786" y="2177"/>
                </a:lnTo>
                <a:lnTo>
                  <a:pt x="1786" y="2183"/>
                </a:lnTo>
                <a:lnTo>
                  <a:pt x="1786" y="2177"/>
                </a:lnTo>
                <a:lnTo>
                  <a:pt x="1791" y="2177"/>
                </a:lnTo>
                <a:lnTo>
                  <a:pt x="1791" y="2183"/>
                </a:lnTo>
                <a:lnTo>
                  <a:pt x="1797" y="2183"/>
                </a:lnTo>
                <a:lnTo>
                  <a:pt x="1797" y="2188"/>
                </a:lnTo>
                <a:lnTo>
                  <a:pt x="1803" y="2188"/>
                </a:lnTo>
                <a:lnTo>
                  <a:pt x="1803" y="2194"/>
                </a:lnTo>
                <a:lnTo>
                  <a:pt x="1808" y="2194"/>
                </a:lnTo>
                <a:lnTo>
                  <a:pt x="1814" y="2194"/>
                </a:lnTo>
                <a:lnTo>
                  <a:pt x="1814" y="2200"/>
                </a:lnTo>
                <a:lnTo>
                  <a:pt x="1820" y="2200"/>
                </a:lnTo>
                <a:lnTo>
                  <a:pt x="1820" y="2194"/>
                </a:lnTo>
                <a:lnTo>
                  <a:pt x="1825" y="2194"/>
                </a:lnTo>
                <a:lnTo>
                  <a:pt x="1825" y="2200"/>
                </a:lnTo>
                <a:lnTo>
                  <a:pt x="1831" y="2200"/>
                </a:lnTo>
                <a:lnTo>
                  <a:pt x="1831" y="2205"/>
                </a:lnTo>
                <a:lnTo>
                  <a:pt x="1831" y="2211"/>
                </a:lnTo>
                <a:lnTo>
                  <a:pt x="1825" y="2211"/>
                </a:lnTo>
                <a:lnTo>
                  <a:pt x="1825" y="2217"/>
                </a:lnTo>
                <a:lnTo>
                  <a:pt x="1825" y="2222"/>
                </a:lnTo>
                <a:lnTo>
                  <a:pt x="1831" y="2222"/>
                </a:lnTo>
                <a:lnTo>
                  <a:pt x="1837" y="2222"/>
                </a:lnTo>
                <a:lnTo>
                  <a:pt x="1842" y="2222"/>
                </a:lnTo>
                <a:lnTo>
                  <a:pt x="1842" y="2228"/>
                </a:lnTo>
                <a:lnTo>
                  <a:pt x="1848" y="2228"/>
                </a:lnTo>
                <a:lnTo>
                  <a:pt x="1848" y="2234"/>
                </a:lnTo>
                <a:lnTo>
                  <a:pt x="1848" y="2239"/>
                </a:lnTo>
                <a:lnTo>
                  <a:pt x="1842" y="2239"/>
                </a:lnTo>
                <a:lnTo>
                  <a:pt x="1842" y="2245"/>
                </a:lnTo>
                <a:lnTo>
                  <a:pt x="1842" y="2251"/>
                </a:lnTo>
                <a:lnTo>
                  <a:pt x="1837" y="2251"/>
                </a:lnTo>
                <a:lnTo>
                  <a:pt x="1837" y="2256"/>
                </a:lnTo>
                <a:lnTo>
                  <a:pt x="1837" y="2262"/>
                </a:lnTo>
                <a:lnTo>
                  <a:pt x="1831" y="2262"/>
                </a:lnTo>
                <a:lnTo>
                  <a:pt x="1825" y="2262"/>
                </a:lnTo>
                <a:lnTo>
                  <a:pt x="1825" y="2268"/>
                </a:lnTo>
                <a:lnTo>
                  <a:pt x="1831" y="2268"/>
                </a:lnTo>
                <a:lnTo>
                  <a:pt x="1825" y="2273"/>
                </a:lnTo>
                <a:lnTo>
                  <a:pt x="1825" y="2279"/>
                </a:lnTo>
                <a:lnTo>
                  <a:pt x="1825" y="2285"/>
                </a:lnTo>
                <a:lnTo>
                  <a:pt x="1831" y="2285"/>
                </a:lnTo>
                <a:lnTo>
                  <a:pt x="1825" y="2285"/>
                </a:lnTo>
                <a:lnTo>
                  <a:pt x="1825" y="2290"/>
                </a:lnTo>
                <a:lnTo>
                  <a:pt x="1808" y="2296"/>
                </a:lnTo>
                <a:lnTo>
                  <a:pt x="1808" y="2302"/>
                </a:lnTo>
                <a:lnTo>
                  <a:pt x="1808" y="2307"/>
                </a:lnTo>
                <a:lnTo>
                  <a:pt x="1814" y="2307"/>
                </a:lnTo>
                <a:lnTo>
                  <a:pt x="1814" y="2313"/>
                </a:lnTo>
                <a:lnTo>
                  <a:pt x="1814" y="2319"/>
                </a:lnTo>
                <a:lnTo>
                  <a:pt x="1820" y="2319"/>
                </a:lnTo>
                <a:lnTo>
                  <a:pt x="1820" y="2324"/>
                </a:lnTo>
                <a:lnTo>
                  <a:pt x="1825" y="2324"/>
                </a:lnTo>
                <a:lnTo>
                  <a:pt x="1831" y="2324"/>
                </a:lnTo>
                <a:lnTo>
                  <a:pt x="1831" y="2330"/>
                </a:lnTo>
                <a:lnTo>
                  <a:pt x="1837" y="2330"/>
                </a:lnTo>
                <a:lnTo>
                  <a:pt x="1842" y="2330"/>
                </a:lnTo>
                <a:lnTo>
                  <a:pt x="1842" y="2336"/>
                </a:lnTo>
                <a:lnTo>
                  <a:pt x="1848" y="2336"/>
                </a:lnTo>
                <a:lnTo>
                  <a:pt x="1848" y="2341"/>
                </a:lnTo>
                <a:lnTo>
                  <a:pt x="1842" y="2341"/>
                </a:lnTo>
                <a:lnTo>
                  <a:pt x="1842" y="2347"/>
                </a:lnTo>
                <a:lnTo>
                  <a:pt x="1848" y="2347"/>
                </a:lnTo>
                <a:lnTo>
                  <a:pt x="1848" y="2353"/>
                </a:lnTo>
                <a:lnTo>
                  <a:pt x="1842" y="2353"/>
                </a:lnTo>
                <a:lnTo>
                  <a:pt x="1842" y="2358"/>
                </a:lnTo>
                <a:lnTo>
                  <a:pt x="1848" y="2358"/>
                </a:lnTo>
                <a:lnTo>
                  <a:pt x="1854" y="2358"/>
                </a:lnTo>
                <a:lnTo>
                  <a:pt x="1854" y="2364"/>
                </a:lnTo>
                <a:lnTo>
                  <a:pt x="1859" y="2370"/>
                </a:lnTo>
                <a:lnTo>
                  <a:pt x="1859" y="2375"/>
                </a:lnTo>
                <a:lnTo>
                  <a:pt x="1859" y="2381"/>
                </a:lnTo>
                <a:lnTo>
                  <a:pt x="1859" y="2387"/>
                </a:lnTo>
                <a:lnTo>
                  <a:pt x="1865" y="2387"/>
                </a:lnTo>
                <a:lnTo>
                  <a:pt x="1865" y="2392"/>
                </a:lnTo>
                <a:lnTo>
                  <a:pt x="1865" y="2398"/>
                </a:lnTo>
                <a:lnTo>
                  <a:pt x="1871" y="2398"/>
                </a:lnTo>
                <a:lnTo>
                  <a:pt x="1876" y="2398"/>
                </a:lnTo>
                <a:lnTo>
                  <a:pt x="1882" y="2398"/>
                </a:lnTo>
                <a:lnTo>
                  <a:pt x="1882" y="2404"/>
                </a:lnTo>
                <a:lnTo>
                  <a:pt x="1882" y="2409"/>
                </a:lnTo>
                <a:lnTo>
                  <a:pt x="1882" y="2415"/>
                </a:lnTo>
                <a:lnTo>
                  <a:pt x="1876" y="2415"/>
                </a:lnTo>
                <a:lnTo>
                  <a:pt x="1876" y="2421"/>
                </a:lnTo>
                <a:lnTo>
                  <a:pt x="1882" y="2421"/>
                </a:lnTo>
                <a:lnTo>
                  <a:pt x="1882" y="2426"/>
                </a:lnTo>
                <a:lnTo>
                  <a:pt x="1882" y="2432"/>
                </a:lnTo>
                <a:lnTo>
                  <a:pt x="1888" y="2432"/>
                </a:lnTo>
                <a:lnTo>
                  <a:pt x="1882" y="2432"/>
                </a:lnTo>
                <a:lnTo>
                  <a:pt x="1888" y="2432"/>
                </a:lnTo>
                <a:lnTo>
                  <a:pt x="1888" y="2438"/>
                </a:lnTo>
                <a:lnTo>
                  <a:pt x="1893" y="2443"/>
                </a:lnTo>
                <a:lnTo>
                  <a:pt x="1899" y="2443"/>
                </a:lnTo>
                <a:lnTo>
                  <a:pt x="1905" y="2443"/>
                </a:lnTo>
                <a:lnTo>
                  <a:pt x="1905" y="2449"/>
                </a:lnTo>
                <a:lnTo>
                  <a:pt x="1910" y="2449"/>
                </a:lnTo>
                <a:lnTo>
                  <a:pt x="1910" y="2455"/>
                </a:lnTo>
                <a:lnTo>
                  <a:pt x="1916" y="2455"/>
                </a:lnTo>
                <a:lnTo>
                  <a:pt x="1916" y="2460"/>
                </a:lnTo>
                <a:lnTo>
                  <a:pt x="1916" y="2466"/>
                </a:lnTo>
                <a:lnTo>
                  <a:pt x="1922" y="2466"/>
                </a:lnTo>
                <a:lnTo>
                  <a:pt x="1922" y="2472"/>
                </a:lnTo>
                <a:lnTo>
                  <a:pt x="1922" y="2477"/>
                </a:lnTo>
                <a:lnTo>
                  <a:pt x="1927" y="2477"/>
                </a:lnTo>
                <a:lnTo>
                  <a:pt x="1933" y="2477"/>
                </a:lnTo>
                <a:lnTo>
                  <a:pt x="1939" y="2477"/>
                </a:lnTo>
                <a:lnTo>
                  <a:pt x="1945" y="2477"/>
                </a:lnTo>
                <a:lnTo>
                  <a:pt x="1950" y="2477"/>
                </a:lnTo>
                <a:lnTo>
                  <a:pt x="1950" y="2483"/>
                </a:lnTo>
                <a:lnTo>
                  <a:pt x="1950" y="2477"/>
                </a:lnTo>
                <a:lnTo>
                  <a:pt x="1956" y="2477"/>
                </a:lnTo>
                <a:lnTo>
                  <a:pt x="1950" y="2477"/>
                </a:lnTo>
                <a:lnTo>
                  <a:pt x="1950" y="2472"/>
                </a:lnTo>
                <a:lnTo>
                  <a:pt x="1956" y="2472"/>
                </a:lnTo>
                <a:lnTo>
                  <a:pt x="1962" y="2472"/>
                </a:lnTo>
                <a:lnTo>
                  <a:pt x="1962" y="2477"/>
                </a:lnTo>
                <a:lnTo>
                  <a:pt x="1962" y="2472"/>
                </a:lnTo>
                <a:lnTo>
                  <a:pt x="1967" y="2472"/>
                </a:lnTo>
                <a:lnTo>
                  <a:pt x="1967" y="2477"/>
                </a:lnTo>
                <a:lnTo>
                  <a:pt x="1967" y="2472"/>
                </a:lnTo>
                <a:lnTo>
                  <a:pt x="1967" y="2477"/>
                </a:lnTo>
                <a:lnTo>
                  <a:pt x="1973" y="2477"/>
                </a:lnTo>
                <a:lnTo>
                  <a:pt x="1979" y="2477"/>
                </a:lnTo>
                <a:lnTo>
                  <a:pt x="1979" y="2483"/>
                </a:lnTo>
                <a:lnTo>
                  <a:pt x="1984" y="2483"/>
                </a:lnTo>
                <a:lnTo>
                  <a:pt x="1984" y="2489"/>
                </a:lnTo>
                <a:lnTo>
                  <a:pt x="1990" y="2489"/>
                </a:lnTo>
                <a:lnTo>
                  <a:pt x="1996" y="2489"/>
                </a:lnTo>
                <a:lnTo>
                  <a:pt x="1996" y="2494"/>
                </a:lnTo>
                <a:lnTo>
                  <a:pt x="1996" y="2500"/>
                </a:lnTo>
                <a:lnTo>
                  <a:pt x="1996" y="2506"/>
                </a:lnTo>
                <a:lnTo>
                  <a:pt x="2001" y="2506"/>
                </a:lnTo>
                <a:lnTo>
                  <a:pt x="2001" y="2511"/>
                </a:lnTo>
                <a:lnTo>
                  <a:pt x="2007" y="2511"/>
                </a:lnTo>
                <a:lnTo>
                  <a:pt x="2007" y="2517"/>
                </a:lnTo>
                <a:lnTo>
                  <a:pt x="2013" y="2517"/>
                </a:lnTo>
                <a:lnTo>
                  <a:pt x="2013" y="2523"/>
                </a:lnTo>
                <a:lnTo>
                  <a:pt x="2018" y="2523"/>
                </a:lnTo>
                <a:lnTo>
                  <a:pt x="2018" y="2528"/>
                </a:lnTo>
                <a:lnTo>
                  <a:pt x="2018" y="2534"/>
                </a:lnTo>
                <a:lnTo>
                  <a:pt x="2024" y="2534"/>
                </a:lnTo>
                <a:lnTo>
                  <a:pt x="2024" y="2540"/>
                </a:lnTo>
                <a:lnTo>
                  <a:pt x="2030" y="2540"/>
                </a:lnTo>
                <a:lnTo>
                  <a:pt x="2030" y="2545"/>
                </a:lnTo>
                <a:lnTo>
                  <a:pt x="2035" y="2545"/>
                </a:lnTo>
                <a:lnTo>
                  <a:pt x="2035" y="2551"/>
                </a:lnTo>
                <a:lnTo>
                  <a:pt x="2041" y="2551"/>
                </a:lnTo>
                <a:lnTo>
                  <a:pt x="2035" y="2551"/>
                </a:lnTo>
                <a:lnTo>
                  <a:pt x="2035" y="2557"/>
                </a:lnTo>
                <a:lnTo>
                  <a:pt x="2041" y="2562"/>
                </a:lnTo>
                <a:lnTo>
                  <a:pt x="2047" y="2568"/>
                </a:lnTo>
                <a:lnTo>
                  <a:pt x="2052" y="2568"/>
                </a:lnTo>
                <a:lnTo>
                  <a:pt x="2058" y="2574"/>
                </a:lnTo>
                <a:lnTo>
                  <a:pt x="2058" y="2568"/>
                </a:lnTo>
                <a:lnTo>
                  <a:pt x="2064" y="2568"/>
                </a:lnTo>
                <a:lnTo>
                  <a:pt x="2069" y="2568"/>
                </a:lnTo>
                <a:lnTo>
                  <a:pt x="2075" y="2568"/>
                </a:lnTo>
                <a:lnTo>
                  <a:pt x="2075" y="2574"/>
                </a:lnTo>
                <a:lnTo>
                  <a:pt x="2081" y="2574"/>
                </a:lnTo>
                <a:lnTo>
                  <a:pt x="2081" y="2579"/>
                </a:lnTo>
                <a:lnTo>
                  <a:pt x="2086" y="2579"/>
                </a:lnTo>
                <a:lnTo>
                  <a:pt x="2086" y="2585"/>
                </a:lnTo>
                <a:lnTo>
                  <a:pt x="2092" y="2585"/>
                </a:lnTo>
                <a:lnTo>
                  <a:pt x="2092" y="2591"/>
                </a:lnTo>
                <a:lnTo>
                  <a:pt x="2098" y="2591"/>
                </a:lnTo>
                <a:lnTo>
                  <a:pt x="2098" y="2596"/>
                </a:lnTo>
                <a:lnTo>
                  <a:pt x="2103" y="2596"/>
                </a:lnTo>
                <a:lnTo>
                  <a:pt x="2103" y="2602"/>
                </a:lnTo>
                <a:lnTo>
                  <a:pt x="2103" y="2608"/>
                </a:lnTo>
                <a:lnTo>
                  <a:pt x="2109" y="2608"/>
                </a:lnTo>
                <a:lnTo>
                  <a:pt x="2103" y="2608"/>
                </a:lnTo>
                <a:lnTo>
                  <a:pt x="2103" y="2613"/>
                </a:lnTo>
                <a:lnTo>
                  <a:pt x="2109" y="2613"/>
                </a:lnTo>
                <a:lnTo>
                  <a:pt x="2109" y="2619"/>
                </a:lnTo>
                <a:lnTo>
                  <a:pt x="2103" y="2619"/>
                </a:lnTo>
                <a:lnTo>
                  <a:pt x="2103" y="2625"/>
                </a:lnTo>
                <a:lnTo>
                  <a:pt x="2109" y="2625"/>
                </a:lnTo>
                <a:lnTo>
                  <a:pt x="2115" y="2630"/>
                </a:lnTo>
                <a:lnTo>
                  <a:pt x="2120" y="2630"/>
                </a:lnTo>
                <a:lnTo>
                  <a:pt x="2120" y="2636"/>
                </a:lnTo>
                <a:lnTo>
                  <a:pt x="2126" y="2636"/>
                </a:lnTo>
                <a:lnTo>
                  <a:pt x="2132" y="2636"/>
                </a:lnTo>
                <a:lnTo>
                  <a:pt x="2132" y="2642"/>
                </a:lnTo>
                <a:lnTo>
                  <a:pt x="2137" y="2642"/>
                </a:lnTo>
                <a:lnTo>
                  <a:pt x="2137" y="2636"/>
                </a:lnTo>
                <a:lnTo>
                  <a:pt x="2137" y="2630"/>
                </a:lnTo>
                <a:lnTo>
                  <a:pt x="2143" y="2630"/>
                </a:lnTo>
                <a:lnTo>
                  <a:pt x="2149" y="2630"/>
                </a:lnTo>
                <a:lnTo>
                  <a:pt x="2154" y="2630"/>
                </a:lnTo>
                <a:lnTo>
                  <a:pt x="2160" y="2630"/>
                </a:lnTo>
                <a:lnTo>
                  <a:pt x="2160" y="2636"/>
                </a:lnTo>
                <a:lnTo>
                  <a:pt x="2160" y="2642"/>
                </a:lnTo>
                <a:lnTo>
                  <a:pt x="2166" y="2642"/>
                </a:lnTo>
                <a:lnTo>
                  <a:pt x="2166" y="2636"/>
                </a:lnTo>
                <a:lnTo>
                  <a:pt x="2171" y="2636"/>
                </a:lnTo>
                <a:lnTo>
                  <a:pt x="2171" y="2642"/>
                </a:lnTo>
                <a:lnTo>
                  <a:pt x="2171" y="2647"/>
                </a:lnTo>
                <a:lnTo>
                  <a:pt x="2177" y="2647"/>
                </a:lnTo>
                <a:lnTo>
                  <a:pt x="2177" y="2653"/>
                </a:lnTo>
                <a:lnTo>
                  <a:pt x="2177" y="2659"/>
                </a:lnTo>
                <a:lnTo>
                  <a:pt x="2183" y="2659"/>
                </a:lnTo>
                <a:lnTo>
                  <a:pt x="2183" y="2664"/>
                </a:lnTo>
                <a:lnTo>
                  <a:pt x="2188" y="2670"/>
                </a:lnTo>
                <a:lnTo>
                  <a:pt x="2188" y="2664"/>
                </a:lnTo>
                <a:lnTo>
                  <a:pt x="2188" y="2670"/>
                </a:lnTo>
                <a:lnTo>
                  <a:pt x="2194" y="2664"/>
                </a:lnTo>
                <a:lnTo>
                  <a:pt x="2200" y="2664"/>
                </a:lnTo>
                <a:lnTo>
                  <a:pt x="2205" y="2664"/>
                </a:lnTo>
                <a:lnTo>
                  <a:pt x="2205" y="2670"/>
                </a:lnTo>
                <a:lnTo>
                  <a:pt x="2211" y="2670"/>
                </a:lnTo>
                <a:lnTo>
                  <a:pt x="2211" y="2676"/>
                </a:lnTo>
                <a:lnTo>
                  <a:pt x="2205" y="2676"/>
                </a:lnTo>
                <a:lnTo>
                  <a:pt x="2211" y="2676"/>
                </a:lnTo>
                <a:lnTo>
                  <a:pt x="2211" y="2681"/>
                </a:lnTo>
                <a:lnTo>
                  <a:pt x="2211" y="2687"/>
                </a:lnTo>
                <a:lnTo>
                  <a:pt x="2217" y="2687"/>
                </a:lnTo>
                <a:lnTo>
                  <a:pt x="2222" y="2687"/>
                </a:lnTo>
                <a:lnTo>
                  <a:pt x="2222" y="2693"/>
                </a:lnTo>
                <a:lnTo>
                  <a:pt x="2228" y="2698"/>
                </a:lnTo>
                <a:lnTo>
                  <a:pt x="2228" y="2704"/>
                </a:lnTo>
                <a:lnTo>
                  <a:pt x="2228" y="2710"/>
                </a:lnTo>
                <a:lnTo>
                  <a:pt x="2234" y="2710"/>
                </a:lnTo>
                <a:lnTo>
                  <a:pt x="2234" y="2715"/>
                </a:lnTo>
                <a:lnTo>
                  <a:pt x="2234" y="2721"/>
                </a:lnTo>
                <a:lnTo>
                  <a:pt x="2234" y="2727"/>
                </a:lnTo>
                <a:lnTo>
                  <a:pt x="2228" y="2727"/>
                </a:lnTo>
                <a:lnTo>
                  <a:pt x="2234" y="2727"/>
                </a:lnTo>
                <a:lnTo>
                  <a:pt x="2228" y="2727"/>
                </a:lnTo>
                <a:lnTo>
                  <a:pt x="2234" y="2727"/>
                </a:lnTo>
                <a:lnTo>
                  <a:pt x="2228" y="2732"/>
                </a:lnTo>
                <a:lnTo>
                  <a:pt x="2228" y="2738"/>
                </a:lnTo>
                <a:lnTo>
                  <a:pt x="2222" y="2738"/>
                </a:lnTo>
                <a:lnTo>
                  <a:pt x="2228" y="2738"/>
                </a:lnTo>
                <a:lnTo>
                  <a:pt x="2228" y="2744"/>
                </a:lnTo>
                <a:lnTo>
                  <a:pt x="2234" y="2744"/>
                </a:lnTo>
                <a:lnTo>
                  <a:pt x="2239" y="2744"/>
                </a:lnTo>
                <a:lnTo>
                  <a:pt x="2234" y="2744"/>
                </a:lnTo>
                <a:lnTo>
                  <a:pt x="2228" y="2744"/>
                </a:lnTo>
                <a:lnTo>
                  <a:pt x="2228" y="2749"/>
                </a:lnTo>
                <a:lnTo>
                  <a:pt x="2234" y="2749"/>
                </a:lnTo>
                <a:lnTo>
                  <a:pt x="2228" y="2749"/>
                </a:lnTo>
                <a:lnTo>
                  <a:pt x="2234" y="2749"/>
                </a:lnTo>
                <a:lnTo>
                  <a:pt x="2234" y="2755"/>
                </a:lnTo>
                <a:lnTo>
                  <a:pt x="2234" y="2761"/>
                </a:lnTo>
                <a:lnTo>
                  <a:pt x="2234" y="2767"/>
                </a:lnTo>
                <a:lnTo>
                  <a:pt x="2234" y="2772"/>
                </a:lnTo>
                <a:lnTo>
                  <a:pt x="2234" y="2778"/>
                </a:lnTo>
                <a:lnTo>
                  <a:pt x="2234" y="2784"/>
                </a:lnTo>
                <a:lnTo>
                  <a:pt x="2234" y="2778"/>
                </a:lnTo>
                <a:lnTo>
                  <a:pt x="2234" y="2784"/>
                </a:lnTo>
                <a:lnTo>
                  <a:pt x="2228" y="2784"/>
                </a:lnTo>
                <a:lnTo>
                  <a:pt x="2234" y="2784"/>
                </a:lnTo>
                <a:lnTo>
                  <a:pt x="2234" y="2789"/>
                </a:lnTo>
                <a:lnTo>
                  <a:pt x="2228" y="2789"/>
                </a:lnTo>
                <a:lnTo>
                  <a:pt x="2234" y="2789"/>
                </a:lnTo>
                <a:lnTo>
                  <a:pt x="2228" y="2789"/>
                </a:lnTo>
                <a:lnTo>
                  <a:pt x="2228" y="2795"/>
                </a:lnTo>
                <a:lnTo>
                  <a:pt x="2234" y="2795"/>
                </a:lnTo>
                <a:lnTo>
                  <a:pt x="2228" y="2795"/>
                </a:lnTo>
                <a:lnTo>
                  <a:pt x="2228" y="2801"/>
                </a:lnTo>
                <a:lnTo>
                  <a:pt x="2222" y="2801"/>
                </a:lnTo>
                <a:lnTo>
                  <a:pt x="2222" y="2806"/>
                </a:lnTo>
                <a:lnTo>
                  <a:pt x="2217" y="2806"/>
                </a:lnTo>
                <a:lnTo>
                  <a:pt x="2217" y="2801"/>
                </a:lnTo>
                <a:lnTo>
                  <a:pt x="2217" y="2806"/>
                </a:lnTo>
                <a:lnTo>
                  <a:pt x="2217" y="2812"/>
                </a:lnTo>
                <a:lnTo>
                  <a:pt x="2211" y="2812"/>
                </a:lnTo>
                <a:lnTo>
                  <a:pt x="2217" y="2812"/>
                </a:lnTo>
                <a:lnTo>
                  <a:pt x="2217" y="2818"/>
                </a:lnTo>
                <a:lnTo>
                  <a:pt x="2211" y="2818"/>
                </a:lnTo>
                <a:lnTo>
                  <a:pt x="2211" y="2823"/>
                </a:lnTo>
                <a:lnTo>
                  <a:pt x="2211" y="2829"/>
                </a:lnTo>
                <a:lnTo>
                  <a:pt x="2205" y="2823"/>
                </a:lnTo>
                <a:lnTo>
                  <a:pt x="2200" y="2823"/>
                </a:lnTo>
                <a:lnTo>
                  <a:pt x="2194" y="2818"/>
                </a:lnTo>
                <a:lnTo>
                  <a:pt x="2188" y="2818"/>
                </a:lnTo>
                <a:lnTo>
                  <a:pt x="2188" y="2812"/>
                </a:lnTo>
                <a:lnTo>
                  <a:pt x="2183" y="2812"/>
                </a:lnTo>
                <a:lnTo>
                  <a:pt x="2177" y="2812"/>
                </a:lnTo>
                <a:lnTo>
                  <a:pt x="2177" y="2806"/>
                </a:lnTo>
                <a:lnTo>
                  <a:pt x="2171" y="2806"/>
                </a:lnTo>
                <a:lnTo>
                  <a:pt x="2166" y="2806"/>
                </a:lnTo>
                <a:lnTo>
                  <a:pt x="2160" y="2806"/>
                </a:lnTo>
                <a:lnTo>
                  <a:pt x="2154" y="2801"/>
                </a:lnTo>
                <a:lnTo>
                  <a:pt x="2149" y="2795"/>
                </a:lnTo>
                <a:lnTo>
                  <a:pt x="2143" y="2795"/>
                </a:lnTo>
                <a:lnTo>
                  <a:pt x="2143" y="2801"/>
                </a:lnTo>
                <a:lnTo>
                  <a:pt x="2143" y="2806"/>
                </a:lnTo>
                <a:lnTo>
                  <a:pt x="2137" y="2806"/>
                </a:lnTo>
                <a:lnTo>
                  <a:pt x="2137" y="2812"/>
                </a:lnTo>
                <a:lnTo>
                  <a:pt x="2132" y="2812"/>
                </a:lnTo>
                <a:lnTo>
                  <a:pt x="2132" y="2806"/>
                </a:lnTo>
                <a:lnTo>
                  <a:pt x="2126" y="2806"/>
                </a:lnTo>
                <a:lnTo>
                  <a:pt x="2126" y="2812"/>
                </a:lnTo>
                <a:lnTo>
                  <a:pt x="2126" y="2818"/>
                </a:lnTo>
                <a:lnTo>
                  <a:pt x="2132" y="2818"/>
                </a:lnTo>
                <a:lnTo>
                  <a:pt x="2132" y="2823"/>
                </a:lnTo>
                <a:lnTo>
                  <a:pt x="2126" y="2823"/>
                </a:lnTo>
                <a:lnTo>
                  <a:pt x="2126" y="2829"/>
                </a:lnTo>
                <a:lnTo>
                  <a:pt x="2132" y="2829"/>
                </a:lnTo>
                <a:lnTo>
                  <a:pt x="2132" y="2835"/>
                </a:lnTo>
                <a:lnTo>
                  <a:pt x="2132" y="2840"/>
                </a:lnTo>
                <a:lnTo>
                  <a:pt x="2126" y="2840"/>
                </a:lnTo>
                <a:lnTo>
                  <a:pt x="2126" y="2846"/>
                </a:lnTo>
                <a:lnTo>
                  <a:pt x="2126" y="2852"/>
                </a:lnTo>
                <a:lnTo>
                  <a:pt x="2126" y="2857"/>
                </a:lnTo>
                <a:lnTo>
                  <a:pt x="2126" y="2863"/>
                </a:lnTo>
                <a:lnTo>
                  <a:pt x="2126" y="2869"/>
                </a:lnTo>
                <a:lnTo>
                  <a:pt x="2126" y="2874"/>
                </a:lnTo>
                <a:lnTo>
                  <a:pt x="2126" y="2880"/>
                </a:lnTo>
                <a:lnTo>
                  <a:pt x="2120" y="2880"/>
                </a:lnTo>
                <a:lnTo>
                  <a:pt x="2120" y="2886"/>
                </a:lnTo>
                <a:lnTo>
                  <a:pt x="2120" y="2891"/>
                </a:lnTo>
                <a:lnTo>
                  <a:pt x="2115" y="2897"/>
                </a:lnTo>
                <a:lnTo>
                  <a:pt x="2109" y="2897"/>
                </a:lnTo>
                <a:lnTo>
                  <a:pt x="2109" y="2903"/>
                </a:lnTo>
                <a:lnTo>
                  <a:pt x="2103" y="2903"/>
                </a:lnTo>
                <a:lnTo>
                  <a:pt x="2103" y="2908"/>
                </a:lnTo>
                <a:lnTo>
                  <a:pt x="2098" y="2914"/>
                </a:lnTo>
                <a:lnTo>
                  <a:pt x="2092" y="2920"/>
                </a:lnTo>
                <a:lnTo>
                  <a:pt x="2086" y="2925"/>
                </a:lnTo>
                <a:lnTo>
                  <a:pt x="2081" y="2931"/>
                </a:lnTo>
                <a:lnTo>
                  <a:pt x="2075" y="2931"/>
                </a:lnTo>
                <a:lnTo>
                  <a:pt x="2064" y="2931"/>
                </a:lnTo>
                <a:lnTo>
                  <a:pt x="2058" y="2931"/>
                </a:lnTo>
                <a:lnTo>
                  <a:pt x="2052" y="2931"/>
                </a:lnTo>
                <a:lnTo>
                  <a:pt x="2047" y="2931"/>
                </a:lnTo>
                <a:lnTo>
                  <a:pt x="2047" y="2937"/>
                </a:lnTo>
                <a:lnTo>
                  <a:pt x="2041" y="2937"/>
                </a:lnTo>
                <a:lnTo>
                  <a:pt x="2035" y="2937"/>
                </a:lnTo>
                <a:lnTo>
                  <a:pt x="2030" y="2937"/>
                </a:lnTo>
                <a:lnTo>
                  <a:pt x="2024" y="2937"/>
                </a:lnTo>
                <a:lnTo>
                  <a:pt x="2024" y="2942"/>
                </a:lnTo>
                <a:lnTo>
                  <a:pt x="2018" y="2942"/>
                </a:lnTo>
                <a:lnTo>
                  <a:pt x="2013" y="2942"/>
                </a:lnTo>
                <a:lnTo>
                  <a:pt x="2013" y="2948"/>
                </a:lnTo>
                <a:lnTo>
                  <a:pt x="2007" y="2948"/>
                </a:lnTo>
                <a:lnTo>
                  <a:pt x="2007" y="2954"/>
                </a:lnTo>
                <a:lnTo>
                  <a:pt x="2001" y="2959"/>
                </a:lnTo>
                <a:lnTo>
                  <a:pt x="1996" y="2965"/>
                </a:lnTo>
                <a:lnTo>
                  <a:pt x="1996" y="2971"/>
                </a:lnTo>
                <a:lnTo>
                  <a:pt x="1990" y="2971"/>
                </a:lnTo>
                <a:lnTo>
                  <a:pt x="1984" y="2971"/>
                </a:lnTo>
                <a:lnTo>
                  <a:pt x="1979" y="2971"/>
                </a:lnTo>
                <a:lnTo>
                  <a:pt x="1973" y="2971"/>
                </a:lnTo>
                <a:lnTo>
                  <a:pt x="1967" y="2971"/>
                </a:lnTo>
                <a:lnTo>
                  <a:pt x="1967" y="2976"/>
                </a:lnTo>
                <a:lnTo>
                  <a:pt x="1962" y="2982"/>
                </a:lnTo>
                <a:lnTo>
                  <a:pt x="1962" y="2988"/>
                </a:lnTo>
                <a:lnTo>
                  <a:pt x="1956" y="2988"/>
                </a:lnTo>
                <a:lnTo>
                  <a:pt x="1956" y="2993"/>
                </a:lnTo>
                <a:lnTo>
                  <a:pt x="1950" y="2993"/>
                </a:lnTo>
                <a:lnTo>
                  <a:pt x="1950" y="2999"/>
                </a:lnTo>
                <a:lnTo>
                  <a:pt x="1945" y="2999"/>
                </a:lnTo>
                <a:lnTo>
                  <a:pt x="1950" y="2999"/>
                </a:lnTo>
                <a:lnTo>
                  <a:pt x="1945" y="3005"/>
                </a:lnTo>
                <a:lnTo>
                  <a:pt x="1945" y="3010"/>
                </a:lnTo>
                <a:lnTo>
                  <a:pt x="1939" y="3005"/>
                </a:lnTo>
                <a:lnTo>
                  <a:pt x="1939" y="3010"/>
                </a:lnTo>
                <a:lnTo>
                  <a:pt x="1933" y="3010"/>
                </a:lnTo>
                <a:lnTo>
                  <a:pt x="1933" y="3016"/>
                </a:lnTo>
                <a:lnTo>
                  <a:pt x="1933" y="3022"/>
                </a:lnTo>
                <a:lnTo>
                  <a:pt x="1933" y="3027"/>
                </a:lnTo>
                <a:lnTo>
                  <a:pt x="1939" y="3027"/>
                </a:lnTo>
                <a:lnTo>
                  <a:pt x="1939" y="3033"/>
                </a:lnTo>
                <a:lnTo>
                  <a:pt x="1945" y="3039"/>
                </a:lnTo>
                <a:lnTo>
                  <a:pt x="1950" y="3044"/>
                </a:lnTo>
                <a:lnTo>
                  <a:pt x="1956" y="3044"/>
                </a:lnTo>
                <a:lnTo>
                  <a:pt x="1956" y="3050"/>
                </a:lnTo>
                <a:lnTo>
                  <a:pt x="1962" y="3050"/>
                </a:lnTo>
                <a:lnTo>
                  <a:pt x="1962" y="3056"/>
                </a:lnTo>
                <a:lnTo>
                  <a:pt x="1967" y="3056"/>
                </a:lnTo>
                <a:lnTo>
                  <a:pt x="1967" y="3061"/>
                </a:lnTo>
                <a:lnTo>
                  <a:pt x="1967" y="3067"/>
                </a:lnTo>
                <a:lnTo>
                  <a:pt x="1973" y="3073"/>
                </a:lnTo>
                <a:lnTo>
                  <a:pt x="1973" y="3078"/>
                </a:lnTo>
                <a:lnTo>
                  <a:pt x="1979" y="3078"/>
                </a:lnTo>
                <a:lnTo>
                  <a:pt x="1984" y="3078"/>
                </a:lnTo>
                <a:lnTo>
                  <a:pt x="1984" y="3084"/>
                </a:lnTo>
                <a:lnTo>
                  <a:pt x="1990" y="3090"/>
                </a:lnTo>
                <a:lnTo>
                  <a:pt x="1990" y="3084"/>
                </a:lnTo>
                <a:lnTo>
                  <a:pt x="1990" y="3090"/>
                </a:lnTo>
                <a:lnTo>
                  <a:pt x="1996" y="3090"/>
                </a:lnTo>
                <a:lnTo>
                  <a:pt x="1996" y="3095"/>
                </a:lnTo>
                <a:lnTo>
                  <a:pt x="1996" y="3101"/>
                </a:lnTo>
                <a:lnTo>
                  <a:pt x="2001" y="3101"/>
                </a:lnTo>
                <a:lnTo>
                  <a:pt x="2001" y="3107"/>
                </a:lnTo>
                <a:lnTo>
                  <a:pt x="2007" y="3112"/>
                </a:lnTo>
                <a:lnTo>
                  <a:pt x="2007" y="3118"/>
                </a:lnTo>
                <a:lnTo>
                  <a:pt x="2013" y="3124"/>
                </a:lnTo>
                <a:lnTo>
                  <a:pt x="2013" y="3129"/>
                </a:lnTo>
                <a:lnTo>
                  <a:pt x="2007" y="3135"/>
                </a:lnTo>
                <a:lnTo>
                  <a:pt x="2007" y="3141"/>
                </a:lnTo>
                <a:lnTo>
                  <a:pt x="2001" y="3146"/>
                </a:lnTo>
                <a:lnTo>
                  <a:pt x="2001" y="3152"/>
                </a:lnTo>
                <a:lnTo>
                  <a:pt x="1996" y="3152"/>
                </a:lnTo>
                <a:lnTo>
                  <a:pt x="1996" y="3158"/>
                </a:lnTo>
                <a:lnTo>
                  <a:pt x="1990" y="3158"/>
                </a:lnTo>
                <a:lnTo>
                  <a:pt x="1990" y="3163"/>
                </a:lnTo>
                <a:lnTo>
                  <a:pt x="1996" y="3163"/>
                </a:lnTo>
                <a:lnTo>
                  <a:pt x="1996" y="3158"/>
                </a:lnTo>
                <a:lnTo>
                  <a:pt x="1996" y="3163"/>
                </a:lnTo>
                <a:lnTo>
                  <a:pt x="1996" y="3158"/>
                </a:lnTo>
                <a:lnTo>
                  <a:pt x="1996" y="3163"/>
                </a:lnTo>
                <a:lnTo>
                  <a:pt x="1996" y="3169"/>
                </a:lnTo>
                <a:lnTo>
                  <a:pt x="1996" y="3163"/>
                </a:lnTo>
                <a:lnTo>
                  <a:pt x="1996" y="3169"/>
                </a:lnTo>
                <a:lnTo>
                  <a:pt x="1996" y="3175"/>
                </a:lnTo>
                <a:lnTo>
                  <a:pt x="1990" y="3175"/>
                </a:lnTo>
                <a:lnTo>
                  <a:pt x="1990" y="3180"/>
                </a:lnTo>
                <a:lnTo>
                  <a:pt x="1984" y="3180"/>
                </a:lnTo>
                <a:lnTo>
                  <a:pt x="1990" y="3180"/>
                </a:lnTo>
                <a:lnTo>
                  <a:pt x="1990" y="3186"/>
                </a:lnTo>
                <a:lnTo>
                  <a:pt x="1996" y="3186"/>
                </a:lnTo>
                <a:lnTo>
                  <a:pt x="2001" y="3186"/>
                </a:lnTo>
                <a:lnTo>
                  <a:pt x="2007" y="3186"/>
                </a:lnTo>
                <a:lnTo>
                  <a:pt x="2013" y="3186"/>
                </a:lnTo>
                <a:lnTo>
                  <a:pt x="2018" y="3186"/>
                </a:lnTo>
                <a:lnTo>
                  <a:pt x="2018" y="3180"/>
                </a:lnTo>
                <a:lnTo>
                  <a:pt x="2024" y="3180"/>
                </a:lnTo>
                <a:lnTo>
                  <a:pt x="2024" y="3186"/>
                </a:lnTo>
                <a:lnTo>
                  <a:pt x="2024" y="3180"/>
                </a:lnTo>
                <a:lnTo>
                  <a:pt x="2024" y="3186"/>
                </a:lnTo>
                <a:lnTo>
                  <a:pt x="2030" y="3186"/>
                </a:lnTo>
                <a:lnTo>
                  <a:pt x="2024" y="3186"/>
                </a:lnTo>
                <a:lnTo>
                  <a:pt x="2030" y="3186"/>
                </a:lnTo>
                <a:lnTo>
                  <a:pt x="2030" y="3192"/>
                </a:lnTo>
                <a:lnTo>
                  <a:pt x="2035" y="3192"/>
                </a:lnTo>
                <a:lnTo>
                  <a:pt x="2035" y="3197"/>
                </a:lnTo>
                <a:lnTo>
                  <a:pt x="2041" y="3197"/>
                </a:lnTo>
                <a:lnTo>
                  <a:pt x="2035" y="3197"/>
                </a:lnTo>
                <a:lnTo>
                  <a:pt x="2035" y="3203"/>
                </a:lnTo>
                <a:lnTo>
                  <a:pt x="2041" y="3203"/>
                </a:lnTo>
                <a:lnTo>
                  <a:pt x="2041" y="3209"/>
                </a:lnTo>
                <a:lnTo>
                  <a:pt x="2041" y="3214"/>
                </a:lnTo>
                <a:lnTo>
                  <a:pt x="2047" y="3214"/>
                </a:lnTo>
                <a:lnTo>
                  <a:pt x="2047" y="3220"/>
                </a:lnTo>
                <a:lnTo>
                  <a:pt x="2041" y="3220"/>
                </a:lnTo>
                <a:lnTo>
                  <a:pt x="2041" y="3226"/>
                </a:lnTo>
                <a:lnTo>
                  <a:pt x="2035" y="3226"/>
                </a:lnTo>
                <a:lnTo>
                  <a:pt x="2035" y="3231"/>
                </a:lnTo>
                <a:lnTo>
                  <a:pt x="2035" y="3237"/>
                </a:lnTo>
                <a:lnTo>
                  <a:pt x="2035" y="3243"/>
                </a:lnTo>
                <a:lnTo>
                  <a:pt x="2030" y="3243"/>
                </a:lnTo>
                <a:lnTo>
                  <a:pt x="2030" y="3248"/>
                </a:lnTo>
                <a:lnTo>
                  <a:pt x="2035" y="3248"/>
                </a:lnTo>
                <a:lnTo>
                  <a:pt x="2035" y="3254"/>
                </a:lnTo>
                <a:lnTo>
                  <a:pt x="2030" y="3254"/>
                </a:lnTo>
                <a:lnTo>
                  <a:pt x="2030" y="3260"/>
                </a:lnTo>
                <a:lnTo>
                  <a:pt x="2024" y="3260"/>
                </a:lnTo>
                <a:lnTo>
                  <a:pt x="2024" y="3265"/>
                </a:lnTo>
                <a:lnTo>
                  <a:pt x="2030" y="3265"/>
                </a:lnTo>
                <a:lnTo>
                  <a:pt x="2030" y="3271"/>
                </a:lnTo>
                <a:lnTo>
                  <a:pt x="2030" y="3277"/>
                </a:lnTo>
                <a:lnTo>
                  <a:pt x="2030" y="3282"/>
                </a:lnTo>
                <a:lnTo>
                  <a:pt x="2024" y="3282"/>
                </a:lnTo>
                <a:lnTo>
                  <a:pt x="2024" y="3288"/>
                </a:lnTo>
                <a:lnTo>
                  <a:pt x="2024" y="3294"/>
                </a:lnTo>
                <a:lnTo>
                  <a:pt x="2018" y="3294"/>
                </a:lnTo>
                <a:lnTo>
                  <a:pt x="2018" y="3288"/>
                </a:lnTo>
                <a:lnTo>
                  <a:pt x="2013" y="3288"/>
                </a:lnTo>
                <a:lnTo>
                  <a:pt x="2013" y="3282"/>
                </a:lnTo>
                <a:lnTo>
                  <a:pt x="2013" y="3288"/>
                </a:lnTo>
                <a:lnTo>
                  <a:pt x="2007" y="3288"/>
                </a:lnTo>
                <a:lnTo>
                  <a:pt x="2001" y="3288"/>
                </a:lnTo>
                <a:lnTo>
                  <a:pt x="2001" y="3282"/>
                </a:lnTo>
                <a:lnTo>
                  <a:pt x="1996" y="3282"/>
                </a:lnTo>
                <a:lnTo>
                  <a:pt x="1990" y="3282"/>
                </a:lnTo>
                <a:lnTo>
                  <a:pt x="1990" y="3277"/>
                </a:lnTo>
                <a:lnTo>
                  <a:pt x="1984" y="3277"/>
                </a:lnTo>
                <a:lnTo>
                  <a:pt x="1984" y="3271"/>
                </a:lnTo>
                <a:lnTo>
                  <a:pt x="1979" y="3271"/>
                </a:lnTo>
                <a:lnTo>
                  <a:pt x="1979" y="3265"/>
                </a:lnTo>
                <a:lnTo>
                  <a:pt x="1973" y="3265"/>
                </a:lnTo>
                <a:lnTo>
                  <a:pt x="1973" y="3260"/>
                </a:lnTo>
                <a:lnTo>
                  <a:pt x="1967" y="3260"/>
                </a:lnTo>
                <a:lnTo>
                  <a:pt x="1962" y="3260"/>
                </a:lnTo>
                <a:lnTo>
                  <a:pt x="1956" y="3260"/>
                </a:lnTo>
                <a:lnTo>
                  <a:pt x="1956" y="3254"/>
                </a:lnTo>
                <a:lnTo>
                  <a:pt x="1956" y="3248"/>
                </a:lnTo>
                <a:lnTo>
                  <a:pt x="1950" y="3248"/>
                </a:lnTo>
                <a:lnTo>
                  <a:pt x="1950" y="3243"/>
                </a:lnTo>
                <a:lnTo>
                  <a:pt x="1956" y="3243"/>
                </a:lnTo>
                <a:lnTo>
                  <a:pt x="1956" y="3237"/>
                </a:lnTo>
                <a:lnTo>
                  <a:pt x="1956" y="3231"/>
                </a:lnTo>
                <a:lnTo>
                  <a:pt x="1962" y="3231"/>
                </a:lnTo>
                <a:lnTo>
                  <a:pt x="1967" y="3231"/>
                </a:lnTo>
                <a:lnTo>
                  <a:pt x="1962" y="3231"/>
                </a:lnTo>
                <a:lnTo>
                  <a:pt x="1962" y="3226"/>
                </a:lnTo>
                <a:lnTo>
                  <a:pt x="1956" y="3226"/>
                </a:lnTo>
                <a:lnTo>
                  <a:pt x="1956" y="3220"/>
                </a:lnTo>
                <a:lnTo>
                  <a:pt x="1950" y="3220"/>
                </a:lnTo>
                <a:lnTo>
                  <a:pt x="1945" y="3220"/>
                </a:lnTo>
                <a:lnTo>
                  <a:pt x="1945" y="3214"/>
                </a:lnTo>
                <a:lnTo>
                  <a:pt x="1950" y="3214"/>
                </a:lnTo>
                <a:lnTo>
                  <a:pt x="1950" y="3209"/>
                </a:lnTo>
                <a:lnTo>
                  <a:pt x="1950" y="3214"/>
                </a:lnTo>
                <a:lnTo>
                  <a:pt x="1950" y="3209"/>
                </a:lnTo>
                <a:lnTo>
                  <a:pt x="1950" y="3203"/>
                </a:lnTo>
                <a:lnTo>
                  <a:pt x="1950" y="3209"/>
                </a:lnTo>
                <a:lnTo>
                  <a:pt x="1945" y="3209"/>
                </a:lnTo>
                <a:lnTo>
                  <a:pt x="1939" y="3209"/>
                </a:lnTo>
                <a:lnTo>
                  <a:pt x="1939" y="3203"/>
                </a:lnTo>
                <a:lnTo>
                  <a:pt x="1933" y="3203"/>
                </a:lnTo>
                <a:lnTo>
                  <a:pt x="1927" y="3203"/>
                </a:lnTo>
                <a:lnTo>
                  <a:pt x="1922" y="3203"/>
                </a:lnTo>
                <a:lnTo>
                  <a:pt x="1916" y="3203"/>
                </a:lnTo>
                <a:lnTo>
                  <a:pt x="1916" y="3209"/>
                </a:lnTo>
                <a:lnTo>
                  <a:pt x="1910" y="3209"/>
                </a:lnTo>
                <a:lnTo>
                  <a:pt x="1905" y="3209"/>
                </a:lnTo>
                <a:lnTo>
                  <a:pt x="1905" y="3203"/>
                </a:lnTo>
                <a:lnTo>
                  <a:pt x="1905" y="3209"/>
                </a:lnTo>
                <a:lnTo>
                  <a:pt x="1899" y="3209"/>
                </a:lnTo>
                <a:lnTo>
                  <a:pt x="1893" y="3209"/>
                </a:lnTo>
                <a:lnTo>
                  <a:pt x="1893" y="3214"/>
                </a:lnTo>
                <a:lnTo>
                  <a:pt x="1893" y="3220"/>
                </a:lnTo>
                <a:lnTo>
                  <a:pt x="1893" y="3226"/>
                </a:lnTo>
                <a:lnTo>
                  <a:pt x="1888" y="3226"/>
                </a:lnTo>
                <a:lnTo>
                  <a:pt x="1882" y="3226"/>
                </a:lnTo>
                <a:lnTo>
                  <a:pt x="1876" y="3226"/>
                </a:lnTo>
                <a:lnTo>
                  <a:pt x="1871" y="3226"/>
                </a:lnTo>
                <a:lnTo>
                  <a:pt x="1871" y="3231"/>
                </a:lnTo>
                <a:lnTo>
                  <a:pt x="1865" y="3226"/>
                </a:lnTo>
                <a:lnTo>
                  <a:pt x="1859" y="3220"/>
                </a:lnTo>
                <a:lnTo>
                  <a:pt x="1854" y="3214"/>
                </a:lnTo>
                <a:lnTo>
                  <a:pt x="1854" y="3209"/>
                </a:lnTo>
                <a:lnTo>
                  <a:pt x="1848" y="3209"/>
                </a:lnTo>
                <a:lnTo>
                  <a:pt x="1848" y="3203"/>
                </a:lnTo>
                <a:lnTo>
                  <a:pt x="1848" y="3197"/>
                </a:lnTo>
                <a:lnTo>
                  <a:pt x="1842" y="3197"/>
                </a:lnTo>
                <a:lnTo>
                  <a:pt x="1842" y="3203"/>
                </a:lnTo>
                <a:lnTo>
                  <a:pt x="1837" y="3203"/>
                </a:lnTo>
                <a:lnTo>
                  <a:pt x="1831" y="3203"/>
                </a:lnTo>
                <a:lnTo>
                  <a:pt x="1825" y="3203"/>
                </a:lnTo>
                <a:lnTo>
                  <a:pt x="1820" y="3203"/>
                </a:lnTo>
                <a:lnTo>
                  <a:pt x="1820" y="3197"/>
                </a:lnTo>
                <a:lnTo>
                  <a:pt x="1814" y="3197"/>
                </a:lnTo>
                <a:lnTo>
                  <a:pt x="1814" y="3203"/>
                </a:lnTo>
                <a:lnTo>
                  <a:pt x="1808" y="3203"/>
                </a:lnTo>
                <a:lnTo>
                  <a:pt x="1803" y="3203"/>
                </a:lnTo>
                <a:lnTo>
                  <a:pt x="1797" y="3209"/>
                </a:lnTo>
                <a:lnTo>
                  <a:pt x="1797" y="3203"/>
                </a:lnTo>
                <a:lnTo>
                  <a:pt x="1791" y="3203"/>
                </a:lnTo>
                <a:lnTo>
                  <a:pt x="1791" y="3197"/>
                </a:lnTo>
                <a:lnTo>
                  <a:pt x="1791" y="3192"/>
                </a:lnTo>
                <a:lnTo>
                  <a:pt x="1797" y="3192"/>
                </a:lnTo>
                <a:lnTo>
                  <a:pt x="1797" y="3186"/>
                </a:lnTo>
                <a:lnTo>
                  <a:pt x="1797" y="3180"/>
                </a:lnTo>
                <a:lnTo>
                  <a:pt x="1791" y="3180"/>
                </a:lnTo>
                <a:lnTo>
                  <a:pt x="1791" y="3186"/>
                </a:lnTo>
                <a:lnTo>
                  <a:pt x="1786" y="3186"/>
                </a:lnTo>
                <a:lnTo>
                  <a:pt x="1786" y="3192"/>
                </a:lnTo>
                <a:lnTo>
                  <a:pt x="1780" y="3192"/>
                </a:lnTo>
                <a:lnTo>
                  <a:pt x="1780" y="3197"/>
                </a:lnTo>
                <a:lnTo>
                  <a:pt x="1780" y="3192"/>
                </a:lnTo>
                <a:lnTo>
                  <a:pt x="1780" y="3197"/>
                </a:lnTo>
                <a:lnTo>
                  <a:pt x="1774" y="3197"/>
                </a:lnTo>
                <a:lnTo>
                  <a:pt x="1769" y="3197"/>
                </a:lnTo>
                <a:lnTo>
                  <a:pt x="1769" y="3203"/>
                </a:lnTo>
                <a:lnTo>
                  <a:pt x="1769" y="3209"/>
                </a:lnTo>
                <a:lnTo>
                  <a:pt x="1774" y="3214"/>
                </a:lnTo>
                <a:lnTo>
                  <a:pt x="1780" y="3220"/>
                </a:lnTo>
                <a:lnTo>
                  <a:pt x="1780" y="3226"/>
                </a:lnTo>
                <a:lnTo>
                  <a:pt x="1780" y="3231"/>
                </a:lnTo>
                <a:lnTo>
                  <a:pt x="1780" y="3237"/>
                </a:lnTo>
                <a:lnTo>
                  <a:pt x="1780" y="3243"/>
                </a:lnTo>
                <a:lnTo>
                  <a:pt x="1774" y="3243"/>
                </a:lnTo>
                <a:lnTo>
                  <a:pt x="1774" y="3237"/>
                </a:lnTo>
                <a:lnTo>
                  <a:pt x="1769" y="3237"/>
                </a:lnTo>
                <a:lnTo>
                  <a:pt x="1763" y="3237"/>
                </a:lnTo>
                <a:lnTo>
                  <a:pt x="1763" y="3243"/>
                </a:lnTo>
                <a:lnTo>
                  <a:pt x="1757" y="3243"/>
                </a:lnTo>
                <a:lnTo>
                  <a:pt x="1757" y="3237"/>
                </a:lnTo>
                <a:lnTo>
                  <a:pt x="1752" y="3237"/>
                </a:lnTo>
                <a:lnTo>
                  <a:pt x="1746" y="3237"/>
                </a:lnTo>
                <a:lnTo>
                  <a:pt x="1740" y="3237"/>
                </a:lnTo>
                <a:lnTo>
                  <a:pt x="1735" y="3237"/>
                </a:lnTo>
                <a:lnTo>
                  <a:pt x="1729" y="3237"/>
                </a:lnTo>
                <a:lnTo>
                  <a:pt x="1723" y="3237"/>
                </a:lnTo>
                <a:lnTo>
                  <a:pt x="1723" y="3231"/>
                </a:lnTo>
                <a:lnTo>
                  <a:pt x="1723" y="3237"/>
                </a:lnTo>
                <a:lnTo>
                  <a:pt x="1718" y="3237"/>
                </a:lnTo>
                <a:lnTo>
                  <a:pt x="1712" y="3237"/>
                </a:lnTo>
                <a:lnTo>
                  <a:pt x="1706" y="3237"/>
                </a:lnTo>
                <a:lnTo>
                  <a:pt x="1701" y="3237"/>
                </a:lnTo>
                <a:lnTo>
                  <a:pt x="1695" y="3237"/>
                </a:lnTo>
                <a:lnTo>
                  <a:pt x="1695" y="3243"/>
                </a:lnTo>
                <a:lnTo>
                  <a:pt x="1689" y="3243"/>
                </a:lnTo>
                <a:lnTo>
                  <a:pt x="1684" y="3243"/>
                </a:lnTo>
                <a:lnTo>
                  <a:pt x="1678" y="3243"/>
                </a:lnTo>
                <a:lnTo>
                  <a:pt x="1678" y="3248"/>
                </a:lnTo>
                <a:lnTo>
                  <a:pt x="1678" y="3254"/>
                </a:lnTo>
                <a:lnTo>
                  <a:pt x="1672" y="3254"/>
                </a:lnTo>
                <a:lnTo>
                  <a:pt x="1667" y="3254"/>
                </a:lnTo>
                <a:lnTo>
                  <a:pt x="1661" y="3254"/>
                </a:lnTo>
                <a:lnTo>
                  <a:pt x="1661" y="3248"/>
                </a:lnTo>
                <a:lnTo>
                  <a:pt x="1655" y="3248"/>
                </a:lnTo>
                <a:lnTo>
                  <a:pt x="1650" y="3248"/>
                </a:lnTo>
                <a:lnTo>
                  <a:pt x="1650" y="3254"/>
                </a:lnTo>
                <a:lnTo>
                  <a:pt x="1650" y="3248"/>
                </a:lnTo>
                <a:lnTo>
                  <a:pt x="1650" y="3254"/>
                </a:lnTo>
                <a:lnTo>
                  <a:pt x="1644" y="3254"/>
                </a:lnTo>
                <a:lnTo>
                  <a:pt x="1638" y="3254"/>
                </a:lnTo>
                <a:lnTo>
                  <a:pt x="1633" y="3254"/>
                </a:lnTo>
                <a:lnTo>
                  <a:pt x="1627" y="3254"/>
                </a:lnTo>
                <a:lnTo>
                  <a:pt x="1621" y="3254"/>
                </a:lnTo>
                <a:lnTo>
                  <a:pt x="1616" y="3254"/>
                </a:lnTo>
                <a:lnTo>
                  <a:pt x="1616" y="3248"/>
                </a:lnTo>
                <a:lnTo>
                  <a:pt x="1616" y="3254"/>
                </a:lnTo>
                <a:lnTo>
                  <a:pt x="1610" y="3254"/>
                </a:lnTo>
                <a:lnTo>
                  <a:pt x="1604" y="3254"/>
                </a:lnTo>
                <a:lnTo>
                  <a:pt x="1604" y="3260"/>
                </a:lnTo>
                <a:lnTo>
                  <a:pt x="1604" y="3265"/>
                </a:lnTo>
                <a:lnTo>
                  <a:pt x="1599" y="3265"/>
                </a:lnTo>
                <a:lnTo>
                  <a:pt x="1599" y="3271"/>
                </a:lnTo>
                <a:lnTo>
                  <a:pt x="1599" y="3277"/>
                </a:lnTo>
                <a:lnTo>
                  <a:pt x="1599" y="3282"/>
                </a:lnTo>
                <a:lnTo>
                  <a:pt x="1599" y="3288"/>
                </a:lnTo>
                <a:lnTo>
                  <a:pt x="1593" y="3288"/>
                </a:lnTo>
                <a:lnTo>
                  <a:pt x="1587" y="3288"/>
                </a:lnTo>
                <a:lnTo>
                  <a:pt x="1582" y="3288"/>
                </a:lnTo>
                <a:lnTo>
                  <a:pt x="1576" y="3288"/>
                </a:lnTo>
                <a:lnTo>
                  <a:pt x="1570" y="3288"/>
                </a:lnTo>
                <a:lnTo>
                  <a:pt x="1565" y="3288"/>
                </a:lnTo>
                <a:lnTo>
                  <a:pt x="1559" y="3288"/>
                </a:lnTo>
                <a:lnTo>
                  <a:pt x="1559" y="3282"/>
                </a:lnTo>
                <a:lnTo>
                  <a:pt x="1559" y="3288"/>
                </a:lnTo>
                <a:lnTo>
                  <a:pt x="1553" y="3288"/>
                </a:lnTo>
                <a:lnTo>
                  <a:pt x="1553" y="3294"/>
                </a:lnTo>
                <a:lnTo>
                  <a:pt x="1548" y="3294"/>
                </a:lnTo>
                <a:lnTo>
                  <a:pt x="1548" y="3299"/>
                </a:lnTo>
                <a:lnTo>
                  <a:pt x="1548" y="3294"/>
                </a:lnTo>
                <a:lnTo>
                  <a:pt x="1548" y="3299"/>
                </a:lnTo>
                <a:lnTo>
                  <a:pt x="1542" y="3299"/>
                </a:lnTo>
                <a:lnTo>
                  <a:pt x="1542" y="3305"/>
                </a:lnTo>
                <a:lnTo>
                  <a:pt x="1548" y="3305"/>
                </a:lnTo>
                <a:lnTo>
                  <a:pt x="1548" y="3311"/>
                </a:lnTo>
                <a:lnTo>
                  <a:pt x="1553" y="3311"/>
                </a:lnTo>
                <a:lnTo>
                  <a:pt x="1553" y="3316"/>
                </a:lnTo>
                <a:lnTo>
                  <a:pt x="1548" y="3316"/>
                </a:lnTo>
                <a:lnTo>
                  <a:pt x="1542" y="3316"/>
                </a:lnTo>
                <a:lnTo>
                  <a:pt x="1536" y="3316"/>
                </a:lnTo>
                <a:lnTo>
                  <a:pt x="1531" y="3316"/>
                </a:lnTo>
                <a:lnTo>
                  <a:pt x="1525" y="3316"/>
                </a:lnTo>
                <a:lnTo>
                  <a:pt x="1525" y="3322"/>
                </a:lnTo>
                <a:lnTo>
                  <a:pt x="1519" y="3322"/>
                </a:lnTo>
                <a:lnTo>
                  <a:pt x="1514" y="3322"/>
                </a:lnTo>
                <a:lnTo>
                  <a:pt x="1514" y="3328"/>
                </a:lnTo>
                <a:lnTo>
                  <a:pt x="1514" y="3333"/>
                </a:lnTo>
                <a:lnTo>
                  <a:pt x="1514" y="3339"/>
                </a:lnTo>
                <a:lnTo>
                  <a:pt x="1508" y="3339"/>
                </a:lnTo>
                <a:lnTo>
                  <a:pt x="1502" y="3339"/>
                </a:lnTo>
                <a:lnTo>
                  <a:pt x="1497" y="3339"/>
                </a:lnTo>
                <a:lnTo>
                  <a:pt x="1497" y="3333"/>
                </a:lnTo>
                <a:lnTo>
                  <a:pt x="1497" y="3328"/>
                </a:lnTo>
                <a:lnTo>
                  <a:pt x="1502" y="3328"/>
                </a:lnTo>
                <a:lnTo>
                  <a:pt x="1502" y="3322"/>
                </a:lnTo>
                <a:lnTo>
                  <a:pt x="1497" y="3322"/>
                </a:lnTo>
                <a:lnTo>
                  <a:pt x="1491" y="3322"/>
                </a:lnTo>
                <a:lnTo>
                  <a:pt x="1485" y="3322"/>
                </a:lnTo>
                <a:lnTo>
                  <a:pt x="1485" y="3328"/>
                </a:lnTo>
                <a:lnTo>
                  <a:pt x="1480" y="3328"/>
                </a:lnTo>
                <a:lnTo>
                  <a:pt x="1474" y="3328"/>
                </a:lnTo>
                <a:lnTo>
                  <a:pt x="1468" y="3328"/>
                </a:lnTo>
                <a:lnTo>
                  <a:pt x="1468" y="3333"/>
                </a:lnTo>
                <a:lnTo>
                  <a:pt x="1463" y="3333"/>
                </a:lnTo>
                <a:lnTo>
                  <a:pt x="1463" y="3339"/>
                </a:lnTo>
                <a:lnTo>
                  <a:pt x="1457" y="3339"/>
                </a:lnTo>
                <a:lnTo>
                  <a:pt x="1451" y="3339"/>
                </a:lnTo>
                <a:lnTo>
                  <a:pt x="1446" y="3339"/>
                </a:lnTo>
                <a:lnTo>
                  <a:pt x="1440" y="3339"/>
                </a:lnTo>
                <a:lnTo>
                  <a:pt x="1434" y="3339"/>
                </a:lnTo>
                <a:lnTo>
                  <a:pt x="1429" y="3339"/>
                </a:lnTo>
                <a:lnTo>
                  <a:pt x="1423" y="3339"/>
                </a:lnTo>
                <a:lnTo>
                  <a:pt x="1417" y="3339"/>
                </a:lnTo>
                <a:lnTo>
                  <a:pt x="1417" y="3333"/>
                </a:lnTo>
                <a:lnTo>
                  <a:pt x="1423" y="3328"/>
                </a:lnTo>
                <a:lnTo>
                  <a:pt x="1423" y="3322"/>
                </a:lnTo>
                <a:lnTo>
                  <a:pt x="1417" y="3322"/>
                </a:lnTo>
                <a:lnTo>
                  <a:pt x="1417" y="3316"/>
                </a:lnTo>
                <a:lnTo>
                  <a:pt x="1412" y="3316"/>
                </a:lnTo>
                <a:lnTo>
                  <a:pt x="1412" y="3311"/>
                </a:lnTo>
                <a:lnTo>
                  <a:pt x="1406" y="3311"/>
                </a:lnTo>
                <a:lnTo>
                  <a:pt x="1406" y="3305"/>
                </a:lnTo>
                <a:lnTo>
                  <a:pt x="1412" y="3305"/>
                </a:lnTo>
                <a:lnTo>
                  <a:pt x="1406" y="3305"/>
                </a:lnTo>
                <a:lnTo>
                  <a:pt x="1406" y="3299"/>
                </a:lnTo>
                <a:lnTo>
                  <a:pt x="1400" y="3299"/>
                </a:lnTo>
                <a:lnTo>
                  <a:pt x="1400" y="3305"/>
                </a:lnTo>
                <a:lnTo>
                  <a:pt x="1395" y="3305"/>
                </a:lnTo>
                <a:lnTo>
                  <a:pt x="1389" y="3305"/>
                </a:lnTo>
                <a:lnTo>
                  <a:pt x="1389" y="3299"/>
                </a:lnTo>
                <a:lnTo>
                  <a:pt x="1389" y="3294"/>
                </a:lnTo>
                <a:lnTo>
                  <a:pt x="1395" y="3294"/>
                </a:lnTo>
                <a:lnTo>
                  <a:pt x="1400" y="3294"/>
                </a:lnTo>
                <a:lnTo>
                  <a:pt x="1400" y="3288"/>
                </a:lnTo>
                <a:lnTo>
                  <a:pt x="1406" y="3288"/>
                </a:lnTo>
                <a:lnTo>
                  <a:pt x="1400" y="3288"/>
                </a:lnTo>
                <a:lnTo>
                  <a:pt x="1406" y="3288"/>
                </a:lnTo>
                <a:lnTo>
                  <a:pt x="1400" y="3288"/>
                </a:lnTo>
                <a:lnTo>
                  <a:pt x="1400" y="3282"/>
                </a:lnTo>
                <a:lnTo>
                  <a:pt x="1395" y="3282"/>
                </a:lnTo>
                <a:lnTo>
                  <a:pt x="1395" y="3277"/>
                </a:lnTo>
                <a:lnTo>
                  <a:pt x="1389" y="3277"/>
                </a:lnTo>
                <a:lnTo>
                  <a:pt x="1389" y="3282"/>
                </a:lnTo>
                <a:lnTo>
                  <a:pt x="1383" y="3282"/>
                </a:lnTo>
                <a:lnTo>
                  <a:pt x="1378" y="3282"/>
                </a:lnTo>
                <a:lnTo>
                  <a:pt x="1372" y="3282"/>
                </a:lnTo>
                <a:lnTo>
                  <a:pt x="1372" y="3288"/>
                </a:lnTo>
                <a:lnTo>
                  <a:pt x="1366" y="3288"/>
                </a:lnTo>
                <a:lnTo>
                  <a:pt x="1361" y="3288"/>
                </a:lnTo>
                <a:lnTo>
                  <a:pt x="1355" y="3288"/>
                </a:lnTo>
                <a:lnTo>
                  <a:pt x="1355" y="3282"/>
                </a:lnTo>
                <a:lnTo>
                  <a:pt x="1361" y="3282"/>
                </a:lnTo>
                <a:lnTo>
                  <a:pt x="1355" y="3282"/>
                </a:lnTo>
                <a:lnTo>
                  <a:pt x="1355" y="3277"/>
                </a:lnTo>
                <a:lnTo>
                  <a:pt x="1349" y="3277"/>
                </a:lnTo>
                <a:lnTo>
                  <a:pt x="1344" y="3277"/>
                </a:lnTo>
                <a:lnTo>
                  <a:pt x="1338" y="3277"/>
                </a:lnTo>
                <a:lnTo>
                  <a:pt x="1338" y="3271"/>
                </a:lnTo>
                <a:lnTo>
                  <a:pt x="1332" y="3271"/>
                </a:lnTo>
                <a:lnTo>
                  <a:pt x="1327" y="3271"/>
                </a:lnTo>
                <a:lnTo>
                  <a:pt x="1321" y="3271"/>
                </a:lnTo>
                <a:lnTo>
                  <a:pt x="1315" y="3271"/>
                </a:lnTo>
                <a:lnTo>
                  <a:pt x="1315" y="3265"/>
                </a:lnTo>
                <a:lnTo>
                  <a:pt x="1310" y="3265"/>
                </a:lnTo>
                <a:lnTo>
                  <a:pt x="1310" y="3271"/>
                </a:lnTo>
                <a:lnTo>
                  <a:pt x="1304" y="3271"/>
                </a:lnTo>
                <a:lnTo>
                  <a:pt x="1304" y="3277"/>
                </a:lnTo>
                <a:lnTo>
                  <a:pt x="1304" y="3282"/>
                </a:lnTo>
                <a:lnTo>
                  <a:pt x="1298" y="3282"/>
                </a:lnTo>
                <a:lnTo>
                  <a:pt x="1293" y="3282"/>
                </a:lnTo>
                <a:lnTo>
                  <a:pt x="1287" y="3282"/>
                </a:lnTo>
                <a:lnTo>
                  <a:pt x="1281" y="3282"/>
                </a:lnTo>
                <a:lnTo>
                  <a:pt x="1281" y="3277"/>
                </a:lnTo>
                <a:lnTo>
                  <a:pt x="1276" y="3277"/>
                </a:lnTo>
                <a:lnTo>
                  <a:pt x="1270" y="3277"/>
                </a:lnTo>
                <a:lnTo>
                  <a:pt x="1270" y="3271"/>
                </a:lnTo>
                <a:lnTo>
                  <a:pt x="1264" y="3271"/>
                </a:lnTo>
                <a:lnTo>
                  <a:pt x="1270" y="3271"/>
                </a:lnTo>
                <a:lnTo>
                  <a:pt x="1270" y="3265"/>
                </a:lnTo>
                <a:lnTo>
                  <a:pt x="1270" y="3260"/>
                </a:lnTo>
                <a:lnTo>
                  <a:pt x="1276" y="3260"/>
                </a:lnTo>
                <a:lnTo>
                  <a:pt x="1270" y="3260"/>
                </a:lnTo>
                <a:lnTo>
                  <a:pt x="1264" y="3260"/>
                </a:lnTo>
                <a:lnTo>
                  <a:pt x="1259" y="3260"/>
                </a:lnTo>
                <a:lnTo>
                  <a:pt x="1259" y="3265"/>
                </a:lnTo>
                <a:lnTo>
                  <a:pt x="1264" y="3265"/>
                </a:lnTo>
                <a:lnTo>
                  <a:pt x="1264" y="3271"/>
                </a:lnTo>
                <a:lnTo>
                  <a:pt x="1264" y="3277"/>
                </a:lnTo>
                <a:lnTo>
                  <a:pt x="1264" y="3282"/>
                </a:lnTo>
                <a:lnTo>
                  <a:pt x="1264" y="3288"/>
                </a:lnTo>
                <a:lnTo>
                  <a:pt x="1264" y="3294"/>
                </a:lnTo>
                <a:lnTo>
                  <a:pt x="1259" y="3294"/>
                </a:lnTo>
                <a:lnTo>
                  <a:pt x="1259" y="3299"/>
                </a:lnTo>
                <a:lnTo>
                  <a:pt x="1264" y="3299"/>
                </a:lnTo>
                <a:lnTo>
                  <a:pt x="1264" y="3305"/>
                </a:lnTo>
                <a:lnTo>
                  <a:pt x="1270" y="3305"/>
                </a:lnTo>
                <a:lnTo>
                  <a:pt x="1270" y="3311"/>
                </a:lnTo>
                <a:lnTo>
                  <a:pt x="1270" y="3316"/>
                </a:lnTo>
                <a:lnTo>
                  <a:pt x="1270" y="3322"/>
                </a:lnTo>
                <a:lnTo>
                  <a:pt x="1276" y="3328"/>
                </a:lnTo>
                <a:lnTo>
                  <a:pt x="1270" y="3328"/>
                </a:lnTo>
                <a:lnTo>
                  <a:pt x="1270" y="3333"/>
                </a:lnTo>
                <a:lnTo>
                  <a:pt x="1264" y="3333"/>
                </a:lnTo>
                <a:lnTo>
                  <a:pt x="1259" y="3333"/>
                </a:lnTo>
                <a:lnTo>
                  <a:pt x="1264" y="3339"/>
                </a:lnTo>
                <a:lnTo>
                  <a:pt x="1259" y="3339"/>
                </a:lnTo>
                <a:lnTo>
                  <a:pt x="1259" y="3345"/>
                </a:lnTo>
                <a:lnTo>
                  <a:pt x="1264" y="3350"/>
                </a:lnTo>
                <a:lnTo>
                  <a:pt x="1259" y="3350"/>
                </a:lnTo>
                <a:lnTo>
                  <a:pt x="1259" y="3345"/>
                </a:lnTo>
                <a:lnTo>
                  <a:pt x="1259" y="3350"/>
                </a:lnTo>
                <a:lnTo>
                  <a:pt x="1253" y="3350"/>
                </a:lnTo>
                <a:lnTo>
                  <a:pt x="1247" y="3350"/>
                </a:lnTo>
                <a:lnTo>
                  <a:pt x="1247" y="3356"/>
                </a:lnTo>
                <a:lnTo>
                  <a:pt x="1247" y="3362"/>
                </a:lnTo>
                <a:lnTo>
                  <a:pt x="1241" y="3362"/>
                </a:lnTo>
                <a:lnTo>
                  <a:pt x="1241" y="3367"/>
                </a:lnTo>
                <a:lnTo>
                  <a:pt x="1236" y="3367"/>
                </a:lnTo>
                <a:lnTo>
                  <a:pt x="1236" y="3373"/>
                </a:lnTo>
                <a:lnTo>
                  <a:pt x="1236" y="3379"/>
                </a:lnTo>
                <a:lnTo>
                  <a:pt x="1230" y="3379"/>
                </a:lnTo>
                <a:lnTo>
                  <a:pt x="1230" y="3384"/>
                </a:lnTo>
                <a:lnTo>
                  <a:pt x="1230" y="3379"/>
                </a:lnTo>
                <a:lnTo>
                  <a:pt x="1224" y="3379"/>
                </a:lnTo>
                <a:lnTo>
                  <a:pt x="1224" y="3384"/>
                </a:lnTo>
                <a:lnTo>
                  <a:pt x="1219" y="3384"/>
                </a:lnTo>
                <a:lnTo>
                  <a:pt x="1219" y="3390"/>
                </a:lnTo>
                <a:lnTo>
                  <a:pt x="1213" y="3390"/>
                </a:lnTo>
                <a:lnTo>
                  <a:pt x="1207" y="3390"/>
                </a:lnTo>
                <a:lnTo>
                  <a:pt x="1207" y="3396"/>
                </a:lnTo>
                <a:lnTo>
                  <a:pt x="1207" y="3390"/>
                </a:lnTo>
                <a:lnTo>
                  <a:pt x="1207" y="3396"/>
                </a:lnTo>
                <a:lnTo>
                  <a:pt x="1202" y="3396"/>
                </a:lnTo>
                <a:lnTo>
                  <a:pt x="1196" y="3396"/>
                </a:lnTo>
                <a:lnTo>
                  <a:pt x="1190" y="3396"/>
                </a:lnTo>
                <a:lnTo>
                  <a:pt x="1185" y="3396"/>
                </a:lnTo>
                <a:lnTo>
                  <a:pt x="1185" y="3390"/>
                </a:lnTo>
                <a:lnTo>
                  <a:pt x="1185" y="3384"/>
                </a:lnTo>
                <a:lnTo>
                  <a:pt x="1190" y="3384"/>
                </a:lnTo>
                <a:lnTo>
                  <a:pt x="1196" y="3384"/>
                </a:lnTo>
                <a:lnTo>
                  <a:pt x="1196" y="3379"/>
                </a:lnTo>
                <a:lnTo>
                  <a:pt x="1196" y="3373"/>
                </a:lnTo>
                <a:lnTo>
                  <a:pt x="1190" y="3373"/>
                </a:lnTo>
                <a:lnTo>
                  <a:pt x="1196" y="3367"/>
                </a:lnTo>
                <a:lnTo>
                  <a:pt x="1190" y="3367"/>
                </a:lnTo>
                <a:lnTo>
                  <a:pt x="1196" y="3367"/>
                </a:lnTo>
                <a:lnTo>
                  <a:pt x="1196" y="3362"/>
                </a:lnTo>
                <a:lnTo>
                  <a:pt x="1196" y="3356"/>
                </a:lnTo>
                <a:lnTo>
                  <a:pt x="1202" y="3356"/>
                </a:lnTo>
                <a:lnTo>
                  <a:pt x="1202" y="3350"/>
                </a:lnTo>
                <a:lnTo>
                  <a:pt x="1202" y="3345"/>
                </a:lnTo>
                <a:lnTo>
                  <a:pt x="1196" y="3345"/>
                </a:lnTo>
                <a:lnTo>
                  <a:pt x="1196" y="3350"/>
                </a:lnTo>
                <a:lnTo>
                  <a:pt x="1196" y="3345"/>
                </a:lnTo>
                <a:lnTo>
                  <a:pt x="1190" y="3345"/>
                </a:lnTo>
                <a:lnTo>
                  <a:pt x="1190" y="3350"/>
                </a:lnTo>
                <a:lnTo>
                  <a:pt x="1190" y="3345"/>
                </a:lnTo>
                <a:lnTo>
                  <a:pt x="1185" y="3345"/>
                </a:lnTo>
                <a:lnTo>
                  <a:pt x="1185" y="3350"/>
                </a:lnTo>
                <a:lnTo>
                  <a:pt x="1179" y="3356"/>
                </a:lnTo>
                <a:lnTo>
                  <a:pt x="1173" y="3356"/>
                </a:lnTo>
                <a:lnTo>
                  <a:pt x="1173" y="3350"/>
                </a:lnTo>
                <a:lnTo>
                  <a:pt x="1168" y="3350"/>
                </a:lnTo>
                <a:lnTo>
                  <a:pt x="1168" y="3356"/>
                </a:lnTo>
                <a:lnTo>
                  <a:pt x="1162" y="3356"/>
                </a:lnTo>
                <a:lnTo>
                  <a:pt x="1162" y="3362"/>
                </a:lnTo>
                <a:lnTo>
                  <a:pt x="1162" y="3356"/>
                </a:lnTo>
                <a:lnTo>
                  <a:pt x="1162" y="3350"/>
                </a:lnTo>
                <a:lnTo>
                  <a:pt x="1156" y="3350"/>
                </a:lnTo>
                <a:lnTo>
                  <a:pt x="1156" y="3345"/>
                </a:lnTo>
                <a:lnTo>
                  <a:pt x="1156" y="3339"/>
                </a:lnTo>
                <a:lnTo>
                  <a:pt x="1151" y="3339"/>
                </a:lnTo>
                <a:lnTo>
                  <a:pt x="1151" y="3333"/>
                </a:lnTo>
                <a:lnTo>
                  <a:pt x="1156" y="3333"/>
                </a:lnTo>
                <a:lnTo>
                  <a:pt x="1162" y="3333"/>
                </a:lnTo>
                <a:lnTo>
                  <a:pt x="1162" y="3328"/>
                </a:lnTo>
                <a:lnTo>
                  <a:pt x="1162" y="3322"/>
                </a:lnTo>
                <a:lnTo>
                  <a:pt x="1162" y="3316"/>
                </a:lnTo>
                <a:lnTo>
                  <a:pt x="1156" y="3316"/>
                </a:lnTo>
                <a:lnTo>
                  <a:pt x="1162" y="3316"/>
                </a:lnTo>
                <a:lnTo>
                  <a:pt x="1156" y="3316"/>
                </a:lnTo>
                <a:lnTo>
                  <a:pt x="1151" y="3316"/>
                </a:lnTo>
                <a:lnTo>
                  <a:pt x="1151" y="3311"/>
                </a:lnTo>
                <a:lnTo>
                  <a:pt x="1145" y="3311"/>
                </a:lnTo>
                <a:lnTo>
                  <a:pt x="1151" y="3311"/>
                </a:lnTo>
                <a:lnTo>
                  <a:pt x="1151" y="3305"/>
                </a:lnTo>
                <a:lnTo>
                  <a:pt x="1145" y="3305"/>
                </a:lnTo>
                <a:lnTo>
                  <a:pt x="1145" y="3299"/>
                </a:lnTo>
                <a:lnTo>
                  <a:pt x="1139" y="3305"/>
                </a:lnTo>
                <a:lnTo>
                  <a:pt x="1134" y="3305"/>
                </a:lnTo>
                <a:lnTo>
                  <a:pt x="1128" y="3305"/>
                </a:lnTo>
                <a:lnTo>
                  <a:pt x="1128" y="3299"/>
                </a:lnTo>
                <a:lnTo>
                  <a:pt x="1128" y="3294"/>
                </a:lnTo>
                <a:lnTo>
                  <a:pt x="1134" y="3294"/>
                </a:lnTo>
                <a:lnTo>
                  <a:pt x="1128" y="3294"/>
                </a:lnTo>
                <a:lnTo>
                  <a:pt x="1128" y="3288"/>
                </a:lnTo>
                <a:lnTo>
                  <a:pt x="1122" y="3288"/>
                </a:lnTo>
                <a:lnTo>
                  <a:pt x="1122" y="3282"/>
                </a:lnTo>
                <a:lnTo>
                  <a:pt x="1122" y="3277"/>
                </a:lnTo>
                <a:lnTo>
                  <a:pt x="1122" y="3282"/>
                </a:lnTo>
                <a:lnTo>
                  <a:pt x="1117" y="3282"/>
                </a:lnTo>
                <a:lnTo>
                  <a:pt x="1111" y="3282"/>
                </a:lnTo>
                <a:lnTo>
                  <a:pt x="1105" y="3282"/>
                </a:lnTo>
                <a:lnTo>
                  <a:pt x="1105" y="3277"/>
                </a:lnTo>
                <a:lnTo>
                  <a:pt x="1100" y="3277"/>
                </a:lnTo>
                <a:lnTo>
                  <a:pt x="1094" y="3277"/>
                </a:lnTo>
                <a:lnTo>
                  <a:pt x="1094" y="3282"/>
                </a:lnTo>
                <a:lnTo>
                  <a:pt x="1088" y="3282"/>
                </a:lnTo>
                <a:lnTo>
                  <a:pt x="1088" y="3277"/>
                </a:lnTo>
                <a:lnTo>
                  <a:pt x="1083" y="3277"/>
                </a:lnTo>
                <a:lnTo>
                  <a:pt x="1077" y="3277"/>
                </a:lnTo>
                <a:lnTo>
                  <a:pt x="1077" y="3271"/>
                </a:lnTo>
                <a:lnTo>
                  <a:pt x="1083" y="3271"/>
                </a:lnTo>
                <a:lnTo>
                  <a:pt x="1077" y="3265"/>
                </a:lnTo>
                <a:lnTo>
                  <a:pt x="1083" y="3265"/>
                </a:lnTo>
                <a:lnTo>
                  <a:pt x="1083" y="3260"/>
                </a:lnTo>
                <a:lnTo>
                  <a:pt x="1077" y="3260"/>
                </a:lnTo>
                <a:lnTo>
                  <a:pt x="1077" y="3254"/>
                </a:lnTo>
                <a:lnTo>
                  <a:pt x="1071" y="3254"/>
                </a:lnTo>
                <a:lnTo>
                  <a:pt x="1066" y="3254"/>
                </a:lnTo>
                <a:lnTo>
                  <a:pt x="1066" y="3260"/>
                </a:lnTo>
                <a:lnTo>
                  <a:pt x="1060" y="3260"/>
                </a:lnTo>
                <a:lnTo>
                  <a:pt x="1060" y="3265"/>
                </a:lnTo>
                <a:lnTo>
                  <a:pt x="1060" y="3271"/>
                </a:lnTo>
                <a:lnTo>
                  <a:pt x="1054" y="3271"/>
                </a:lnTo>
                <a:lnTo>
                  <a:pt x="1060" y="3271"/>
                </a:lnTo>
                <a:lnTo>
                  <a:pt x="1054" y="3271"/>
                </a:lnTo>
                <a:lnTo>
                  <a:pt x="1054" y="3277"/>
                </a:lnTo>
                <a:lnTo>
                  <a:pt x="1054" y="3282"/>
                </a:lnTo>
                <a:lnTo>
                  <a:pt x="1054" y="3277"/>
                </a:lnTo>
                <a:lnTo>
                  <a:pt x="1049" y="3277"/>
                </a:lnTo>
                <a:lnTo>
                  <a:pt x="1043" y="3277"/>
                </a:lnTo>
                <a:lnTo>
                  <a:pt x="1043" y="3271"/>
                </a:lnTo>
                <a:lnTo>
                  <a:pt x="1037" y="3271"/>
                </a:lnTo>
                <a:lnTo>
                  <a:pt x="1037" y="3277"/>
                </a:lnTo>
                <a:lnTo>
                  <a:pt x="1043" y="3277"/>
                </a:lnTo>
                <a:lnTo>
                  <a:pt x="1037" y="3277"/>
                </a:lnTo>
                <a:lnTo>
                  <a:pt x="1037" y="3271"/>
                </a:lnTo>
                <a:lnTo>
                  <a:pt x="1032" y="3271"/>
                </a:lnTo>
                <a:lnTo>
                  <a:pt x="1026" y="3271"/>
                </a:lnTo>
                <a:lnTo>
                  <a:pt x="1026" y="3265"/>
                </a:lnTo>
                <a:lnTo>
                  <a:pt x="1020" y="3265"/>
                </a:lnTo>
                <a:lnTo>
                  <a:pt x="1026" y="3265"/>
                </a:lnTo>
                <a:lnTo>
                  <a:pt x="1020" y="3265"/>
                </a:lnTo>
                <a:lnTo>
                  <a:pt x="1015" y="3265"/>
                </a:lnTo>
                <a:lnTo>
                  <a:pt x="1015" y="3260"/>
                </a:lnTo>
                <a:close/>
                <a:moveTo>
                  <a:pt x="1003" y="589"/>
                </a:moveTo>
                <a:lnTo>
                  <a:pt x="1009" y="589"/>
                </a:lnTo>
                <a:lnTo>
                  <a:pt x="1009" y="595"/>
                </a:lnTo>
                <a:lnTo>
                  <a:pt x="1009" y="601"/>
                </a:lnTo>
                <a:lnTo>
                  <a:pt x="1009" y="606"/>
                </a:lnTo>
                <a:lnTo>
                  <a:pt x="1009" y="601"/>
                </a:lnTo>
                <a:lnTo>
                  <a:pt x="1003" y="601"/>
                </a:lnTo>
                <a:lnTo>
                  <a:pt x="1003" y="595"/>
                </a:lnTo>
                <a:lnTo>
                  <a:pt x="1003" y="589"/>
                </a:lnTo>
                <a:close/>
                <a:moveTo>
                  <a:pt x="2228" y="555"/>
                </a:moveTo>
                <a:lnTo>
                  <a:pt x="2234" y="555"/>
                </a:lnTo>
                <a:lnTo>
                  <a:pt x="2234" y="561"/>
                </a:lnTo>
                <a:lnTo>
                  <a:pt x="2228" y="561"/>
                </a:lnTo>
                <a:lnTo>
                  <a:pt x="2228" y="555"/>
                </a:lnTo>
                <a:close/>
                <a:moveTo>
                  <a:pt x="799" y="431"/>
                </a:moveTo>
                <a:lnTo>
                  <a:pt x="799" y="436"/>
                </a:lnTo>
                <a:lnTo>
                  <a:pt x="794" y="436"/>
                </a:lnTo>
                <a:lnTo>
                  <a:pt x="799" y="436"/>
                </a:lnTo>
                <a:lnTo>
                  <a:pt x="799" y="442"/>
                </a:lnTo>
                <a:lnTo>
                  <a:pt x="794" y="442"/>
                </a:lnTo>
                <a:lnTo>
                  <a:pt x="794" y="436"/>
                </a:lnTo>
                <a:lnTo>
                  <a:pt x="794" y="431"/>
                </a:lnTo>
                <a:lnTo>
                  <a:pt x="799" y="431"/>
                </a:lnTo>
                <a:close/>
                <a:moveTo>
                  <a:pt x="833" y="402"/>
                </a:moveTo>
                <a:lnTo>
                  <a:pt x="839" y="402"/>
                </a:lnTo>
                <a:lnTo>
                  <a:pt x="833" y="402"/>
                </a:lnTo>
                <a:close/>
                <a:moveTo>
                  <a:pt x="595" y="374"/>
                </a:moveTo>
                <a:lnTo>
                  <a:pt x="595" y="380"/>
                </a:lnTo>
                <a:lnTo>
                  <a:pt x="590" y="380"/>
                </a:lnTo>
                <a:lnTo>
                  <a:pt x="590" y="374"/>
                </a:lnTo>
                <a:lnTo>
                  <a:pt x="595" y="374"/>
                </a:lnTo>
                <a:close/>
                <a:moveTo>
                  <a:pt x="595" y="374"/>
                </a:moveTo>
                <a:lnTo>
                  <a:pt x="601" y="374"/>
                </a:lnTo>
                <a:lnTo>
                  <a:pt x="595" y="374"/>
                </a:lnTo>
                <a:close/>
                <a:moveTo>
                  <a:pt x="748" y="261"/>
                </a:moveTo>
                <a:lnTo>
                  <a:pt x="748" y="266"/>
                </a:lnTo>
                <a:lnTo>
                  <a:pt x="754" y="266"/>
                </a:lnTo>
                <a:lnTo>
                  <a:pt x="754" y="272"/>
                </a:lnTo>
                <a:lnTo>
                  <a:pt x="748" y="272"/>
                </a:lnTo>
                <a:lnTo>
                  <a:pt x="748" y="278"/>
                </a:lnTo>
                <a:lnTo>
                  <a:pt x="743" y="278"/>
                </a:lnTo>
                <a:lnTo>
                  <a:pt x="743" y="272"/>
                </a:lnTo>
                <a:lnTo>
                  <a:pt x="737" y="272"/>
                </a:lnTo>
                <a:lnTo>
                  <a:pt x="737" y="266"/>
                </a:lnTo>
                <a:lnTo>
                  <a:pt x="737" y="261"/>
                </a:lnTo>
                <a:lnTo>
                  <a:pt x="743" y="255"/>
                </a:lnTo>
                <a:lnTo>
                  <a:pt x="748" y="255"/>
                </a:lnTo>
                <a:lnTo>
                  <a:pt x="748" y="261"/>
                </a:lnTo>
                <a:close/>
                <a:moveTo>
                  <a:pt x="765" y="255"/>
                </a:moveTo>
                <a:lnTo>
                  <a:pt x="771" y="255"/>
                </a:lnTo>
                <a:lnTo>
                  <a:pt x="771" y="261"/>
                </a:lnTo>
                <a:lnTo>
                  <a:pt x="765" y="261"/>
                </a:lnTo>
                <a:lnTo>
                  <a:pt x="765" y="255"/>
                </a:lnTo>
                <a:close/>
                <a:moveTo>
                  <a:pt x="811" y="255"/>
                </a:moveTo>
                <a:lnTo>
                  <a:pt x="811" y="261"/>
                </a:lnTo>
                <a:lnTo>
                  <a:pt x="805" y="261"/>
                </a:lnTo>
                <a:lnTo>
                  <a:pt x="811" y="255"/>
                </a:lnTo>
                <a:close/>
                <a:moveTo>
                  <a:pt x="754" y="227"/>
                </a:moveTo>
                <a:lnTo>
                  <a:pt x="760" y="227"/>
                </a:lnTo>
                <a:lnTo>
                  <a:pt x="760" y="232"/>
                </a:lnTo>
                <a:lnTo>
                  <a:pt x="754" y="232"/>
                </a:lnTo>
                <a:lnTo>
                  <a:pt x="754" y="227"/>
                </a:lnTo>
                <a:close/>
                <a:moveTo>
                  <a:pt x="1406" y="232"/>
                </a:moveTo>
                <a:lnTo>
                  <a:pt x="1412" y="232"/>
                </a:lnTo>
                <a:lnTo>
                  <a:pt x="1417" y="232"/>
                </a:lnTo>
                <a:lnTo>
                  <a:pt x="1423" y="232"/>
                </a:lnTo>
                <a:lnTo>
                  <a:pt x="1429" y="232"/>
                </a:lnTo>
                <a:lnTo>
                  <a:pt x="1429" y="238"/>
                </a:lnTo>
                <a:lnTo>
                  <a:pt x="1434" y="238"/>
                </a:lnTo>
                <a:lnTo>
                  <a:pt x="1440" y="238"/>
                </a:lnTo>
                <a:lnTo>
                  <a:pt x="1440" y="244"/>
                </a:lnTo>
                <a:lnTo>
                  <a:pt x="1446" y="244"/>
                </a:lnTo>
                <a:lnTo>
                  <a:pt x="1446" y="249"/>
                </a:lnTo>
                <a:lnTo>
                  <a:pt x="1451" y="255"/>
                </a:lnTo>
                <a:lnTo>
                  <a:pt x="1451" y="261"/>
                </a:lnTo>
                <a:lnTo>
                  <a:pt x="1457" y="261"/>
                </a:lnTo>
                <a:lnTo>
                  <a:pt x="1457" y="266"/>
                </a:lnTo>
                <a:lnTo>
                  <a:pt x="1457" y="272"/>
                </a:lnTo>
                <a:lnTo>
                  <a:pt x="1463" y="272"/>
                </a:lnTo>
                <a:lnTo>
                  <a:pt x="1463" y="278"/>
                </a:lnTo>
                <a:lnTo>
                  <a:pt x="1463" y="283"/>
                </a:lnTo>
                <a:lnTo>
                  <a:pt x="1457" y="283"/>
                </a:lnTo>
                <a:lnTo>
                  <a:pt x="1451" y="283"/>
                </a:lnTo>
                <a:lnTo>
                  <a:pt x="1446" y="283"/>
                </a:lnTo>
                <a:lnTo>
                  <a:pt x="1440" y="283"/>
                </a:lnTo>
                <a:lnTo>
                  <a:pt x="1434" y="283"/>
                </a:lnTo>
                <a:lnTo>
                  <a:pt x="1440" y="283"/>
                </a:lnTo>
                <a:lnTo>
                  <a:pt x="1440" y="278"/>
                </a:lnTo>
                <a:lnTo>
                  <a:pt x="1434" y="278"/>
                </a:lnTo>
                <a:lnTo>
                  <a:pt x="1429" y="278"/>
                </a:lnTo>
                <a:lnTo>
                  <a:pt x="1429" y="283"/>
                </a:lnTo>
                <a:lnTo>
                  <a:pt x="1434" y="283"/>
                </a:lnTo>
                <a:lnTo>
                  <a:pt x="1429" y="283"/>
                </a:lnTo>
                <a:lnTo>
                  <a:pt x="1429" y="289"/>
                </a:lnTo>
                <a:lnTo>
                  <a:pt x="1423" y="289"/>
                </a:lnTo>
                <a:lnTo>
                  <a:pt x="1423" y="283"/>
                </a:lnTo>
                <a:lnTo>
                  <a:pt x="1417" y="283"/>
                </a:lnTo>
                <a:lnTo>
                  <a:pt x="1412" y="283"/>
                </a:lnTo>
                <a:lnTo>
                  <a:pt x="1412" y="278"/>
                </a:lnTo>
                <a:lnTo>
                  <a:pt x="1412" y="272"/>
                </a:lnTo>
                <a:lnTo>
                  <a:pt x="1412" y="266"/>
                </a:lnTo>
                <a:lnTo>
                  <a:pt x="1406" y="266"/>
                </a:lnTo>
                <a:lnTo>
                  <a:pt x="1400" y="266"/>
                </a:lnTo>
                <a:lnTo>
                  <a:pt x="1395" y="266"/>
                </a:lnTo>
                <a:lnTo>
                  <a:pt x="1389" y="266"/>
                </a:lnTo>
                <a:lnTo>
                  <a:pt x="1389" y="272"/>
                </a:lnTo>
                <a:lnTo>
                  <a:pt x="1395" y="272"/>
                </a:lnTo>
                <a:lnTo>
                  <a:pt x="1395" y="278"/>
                </a:lnTo>
                <a:lnTo>
                  <a:pt x="1395" y="272"/>
                </a:lnTo>
                <a:lnTo>
                  <a:pt x="1389" y="272"/>
                </a:lnTo>
                <a:lnTo>
                  <a:pt x="1389" y="266"/>
                </a:lnTo>
                <a:lnTo>
                  <a:pt x="1389" y="261"/>
                </a:lnTo>
                <a:lnTo>
                  <a:pt x="1389" y="255"/>
                </a:lnTo>
                <a:lnTo>
                  <a:pt x="1389" y="249"/>
                </a:lnTo>
                <a:lnTo>
                  <a:pt x="1389" y="244"/>
                </a:lnTo>
                <a:lnTo>
                  <a:pt x="1395" y="244"/>
                </a:lnTo>
                <a:lnTo>
                  <a:pt x="1395" y="238"/>
                </a:lnTo>
                <a:lnTo>
                  <a:pt x="1395" y="232"/>
                </a:lnTo>
                <a:lnTo>
                  <a:pt x="1400" y="232"/>
                </a:lnTo>
                <a:lnTo>
                  <a:pt x="1400" y="227"/>
                </a:lnTo>
                <a:lnTo>
                  <a:pt x="1406" y="232"/>
                </a:lnTo>
                <a:close/>
                <a:moveTo>
                  <a:pt x="748" y="244"/>
                </a:moveTo>
                <a:lnTo>
                  <a:pt x="743" y="244"/>
                </a:lnTo>
                <a:lnTo>
                  <a:pt x="743" y="238"/>
                </a:lnTo>
                <a:lnTo>
                  <a:pt x="743" y="232"/>
                </a:lnTo>
                <a:lnTo>
                  <a:pt x="743" y="227"/>
                </a:lnTo>
                <a:lnTo>
                  <a:pt x="743" y="221"/>
                </a:lnTo>
                <a:lnTo>
                  <a:pt x="743" y="227"/>
                </a:lnTo>
                <a:lnTo>
                  <a:pt x="748" y="227"/>
                </a:lnTo>
                <a:lnTo>
                  <a:pt x="748" y="232"/>
                </a:lnTo>
                <a:lnTo>
                  <a:pt x="748" y="238"/>
                </a:lnTo>
                <a:lnTo>
                  <a:pt x="748" y="244"/>
                </a:lnTo>
                <a:close/>
                <a:moveTo>
                  <a:pt x="805" y="215"/>
                </a:moveTo>
                <a:lnTo>
                  <a:pt x="805" y="221"/>
                </a:lnTo>
                <a:lnTo>
                  <a:pt x="805" y="227"/>
                </a:lnTo>
                <a:lnTo>
                  <a:pt x="805" y="232"/>
                </a:lnTo>
                <a:lnTo>
                  <a:pt x="799" y="232"/>
                </a:lnTo>
                <a:lnTo>
                  <a:pt x="805" y="232"/>
                </a:lnTo>
                <a:lnTo>
                  <a:pt x="805" y="238"/>
                </a:lnTo>
                <a:lnTo>
                  <a:pt x="799" y="238"/>
                </a:lnTo>
                <a:lnTo>
                  <a:pt x="799" y="244"/>
                </a:lnTo>
                <a:lnTo>
                  <a:pt x="794" y="244"/>
                </a:lnTo>
                <a:lnTo>
                  <a:pt x="788" y="244"/>
                </a:lnTo>
                <a:lnTo>
                  <a:pt x="788" y="249"/>
                </a:lnTo>
                <a:lnTo>
                  <a:pt x="782" y="249"/>
                </a:lnTo>
                <a:lnTo>
                  <a:pt x="782" y="244"/>
                </a:lnTo>
                <a:lnTo>
                  <a:pt x="777" y="244"/>
                </a:lnTo>
                <a:lnTo>
                  <a:pt x="777" y="238"/>
                </a:lnTo>
                <a:lnTo>
                  <a:pt x="777" y="232"/>
                </a:lnTo>
                <a:lnTo>
                  <a:pt x="777" y="227"/>
                </a:lnTo>
                <a:lnTo>
                  <a:pt x="782" y="227"/>
                </a:lnTo>
                <a:lnTo>
                  <a:pt x="788" y="227"/>
                </a:lnTo>
                <a:lnTo>
                  <a:pt x="788" y="221"/>
                </a:lnTo>
                <a:lnTo>
                  <a:pt x="794" y="221"/>
                </a:lnTo>
                <a:lnTo>
                  <a:pt x="799" y="221"/>
                </a:lnTo>
                <a:lnTo>
                  <a:pt x="799" y="215"/>
                </a:lnTo>
                <a:lnTo>
                  <a:pt x="805" y="215"/>
                </a:lnTo>
                <a:lnTo>
                  <a:pt x="805" y="221"/>
                </a:lnTo>
                <a:lnTo>
                  <a:pt x="805" y="215"/>
                </a:lnTo>
                <a:close/>
                <a:moveTo>
                  <a:pt x="771" y="210"/>
                </a:moveTo>
                <a:lnTo>
                  <a:pt x="771" y="215"/>
                </a:lnTo>
                <a:lnTo>
                  <a:pt x="771" y="210"/>
                </a:lnTo>
                <a:lnTo>
                  <a:pt x="771" y="215"/>
                </a:lnTo>
                <a:lnTo>
                  <a:pt x="765" y="215"/>
                </a:lnTo>
                <a:lnTo>
                  <a:pt x="760" y="215"/>
                </a:lnTo>
                <a:lnTo>
                  <a:pt x="760" y="210"/>
                </a:lnTo>
                <a:lnTo>
                  <a:pt x="754" y="210"/>
                </a:lnTo>
                <a:lnTo>
                  <a:pt x="760" y="210"/>
                </a:lnTo>
                <a:lnTo>
                  <a:pt x="765" y="210"/>
                </a:lnTo>
                <a:lnTo>
                  <a:pt x="771" y="210"/>
                </a:lnTo>
                <a:close/>
                <a:moveTo>
                  <a:pt x="737" y="204"/>
                </a:moveTo>
                <a:lnTo>
                  <a:pt x="743" y="204"/>
                </a:lnTo>
                <a:lnTo>
                  <a:pt x="743" y="215"/>
                </a:lnTo>
                <a:lnTo>
                  <a:pt x="737" y="215"/>
                </a:lnTo>
                <a:lnTo>
                  <a:pt x="737" y="204"/>
                </a:lnTo>
                <a:close/>
                <a:moveTo>
                  <a:pt x="822" y="181"/>
                </a:moveTo>
                <a:lnTo>
                  <a:pt x="822" y="187"/>
                </a:lnTo>
                <a:lnTo>
                  <a:pt x="822" y="181"/>
                </a:lnTo>
                <a:close/>
                <a:moveTo>
                  <a:pt x="816" y="181"/>
                </a:moveTo>
                <a:lnTo>
                  <a:pt x="816" y="187"/>
                </a:lnTo>
                <a:lnTo>
                  <a:pt x="811" y="187"/>
                </a:lnTo>
                <a:lnTo>
                  <a:pt x="805" y="187"/>
                </a:lnTo>
                <a:lnTo>
                  <a:pt x="805" y="181"/>
                </a:lnTo>
                <a:lnTo>
                  <a:pt x="811" y="181"/>
                </a:lnTo>
                <a:lnTo>
                  <a:pt x="816" y="181"/>
                </a:lnTo>
                <a:close/>
                <a:moveTo>
                  <a:pt x="726" y="181"/>
                </a:moveTo>
                <a:lnTo>
                  <a:pt x="726" y="187"/>
                </a:lnTo>
                <a:lnTo>
                  <a:pt x="731" y="187"/>
                </a:lnTo>
                <a:lnTo>
                  <a:pt x="726" y="187"/>
                </a:lnTo>
                <a:lnTo>
                  <a:pt x="726" y="193"/>
                </a:lnTo>
                <a:lnTo>
                  <a:pt x="726" y="187"/>
                </a:lnTo>
                <a:lnTo>
                  <a:pt x="731" y="187"/>
                </a:lnTo>
                <a:lnTo>
                  <a:pt x="731" y="193"/>
                </a:lnTo>
                <a:lnTo>
                  <a:pt x="726" y="193"/>
                </a:lnTo>
                <a:lnTo>
                  <a:pt x="720" y="193"/>
                </a:lnTo>
                <a:lnTo>
                  <a:pt x="714" y="193"/>
                </a:lnTo>
                <a:lnTo>
                  <a:pt x="714" y="187"/>
                </a:lnTo>
                <a:lnTo>
                  <a:pt x="709" y="181"/>
                </a:lnTo>
                <a:lnTo>
                  <a:pt x="709" y="176"/>
                </a:lnTo>
                <a:lnTo>
                  <a:pt x="703" y="176"/>
                </a:lnTo>
                <a:lnTo>
                  <a:pt x="703" y="170"/>
                </a:lnTo>
                <a:lnTo>
                  <a:pt x="703" y="164"/>
                </a:lnTo>
                <a:lnTo>
                  <a:pt x="709" y="164"/>
                </a:lnTo>
                <a:lnTo>
                  <a:pt x="709" y="159"/>
                </a:lnTo>
                <a:lnTo>
                  <a:pt x="714" y="153"/>
                </a:lnTo>
                <a:lnTo>
                  <a:pt x="720" y="147"/>
                </a:lnTo>
                <a:lnTo>
                  <a:pt x="720" y="153"/>
                </a:lnTo>
                <a:lnTo>
                  <a:pt x="714" y="153"/>
                </a:lnTo>
                <a:lnTo>
                  <a:pt x="714" y="159"/>
                </a:lnTo>
                <a:lnTo>
                  <a:pt x="714" y="164"/>
                </a:lnTo>
                <a:lnTo>
                  <a:pt x="720" y="164"/>
                </a:lnTo>
                <a:lnTo>
                  <a:pt x="720" y="170"/>
                </a:lnTo>
                <a:lnTo>
                  <a:pt x="720" y="176"/>
                </a:lnTo>
                <a:lnTo>
                  <a:pt x="726" y="181"/>
                </a:lnTo>
                <a:close/>
                <a:moveTo>
                  <a:pt x="765" y="130"/>
                </a:moveTo>
                <a:lnTo>
                  <a:pt x="771" y="130"/>
                </a:lnTo>
                <a:lnTo>
                  <a:pt x="771" y="136"/>
                </a:lnTo>
                <a:lnTo>
                  <a:pt x="777" y="136"/>
                </a:lnTo>
                <a:lnTo>
                  <a:pt x="777" y="142"/>
                </a:lnTo>
                <a:lnTo>
                  <a:pt x="777" y="147"/>
                </a:lnTo>
                <a:lnTo>
                  <a:pt x="777" y="153"/>
                </a:lnTo>
                <a:lnTo>
                  <a:pt x="771" y="153"/>
                </a:lnTo>
                <a:lnTo>
                  <a:pt x="771" y="159"/>
                </a:lnTo>
                <a:lnTo>
                  <a:pt x="777" y="159"/>
                </a:lnTo>
                <a:lnTo>
                  <a:pt x="771" y="159"/>
                </a:lnTo>
                <a:lnTo>
                  <a:pt x="771" y="164"/>
                </a:lnTo>
                <a:lnTo>
                  <a:pt x="765" y="164"/>
                </a:lnTo>
                <a:lnTo>
                  <a:pt x="760" y="164"/>
                </a:lnTo>
                <a:lnTo>
                  <a:pt x="754" y="164"/>
                </a:lnTo>
                <a:lnTo>
                  <a:pt x="748" y="164"/>
                </a:lnTo>
                <a:lnTo>
                  <a:pt x="748" y="159"/>
                </a:lnTo>
                <a:lnTo>
                  <a:pt x="743" y="159"/>
                </a:lnTo>
                <a:lnTo>
                  <a:pt x="737" y="159"/>
                </a:lnTo>
                <a:lnTo>
                  <a:pt x="737" y="153"/>
                </a:lnTo>
                <a:lnTo>
                  <a:pt x="731" y="153"/>
                </a:lnTo>
                <a:lnTo>
                  <a:pt x="726" y="153"/>
                </a:lnTo>
                <a:lnTo>
                  <a:pt x="726" y="147"/>
                </a:lnTo>
                <a:lnTo>
                  <a:pt x="731" y="147"/>
                </a:lnTo>
                <a:lnTo>
                  <a:pt x="731" y="142"/>
                </a:lnTo>
                <a:lnTo>
                  <a:pt x="731" y="136"/>
                </a:lnTo>
                <a:lnTo>
                  <a:pt x="737" y="136"/>
                </a:lnTo>
                <a:lnTo>
                  <a:pt x="743" y="136"/>
                </a:lnTo>
                <a:lnTo>
                  <a:pt x="743" y="130"/>
                </a:lnTo>
                <a:lnTo>
                  <a:pt x="743" y="136"/>
                </a:lnTo>
                <a:lnTo>
                  <a:pt x="743" y="130"/>
                </a:lnTo>
                <a:lnTo>
                  <a:pt x="748" y="130"/>
                </a:lnTo>
                <a:lnTo>
                  <a:pt x="754" y="130"/>
                </a:lnTo>
                <a:lnTo>
                  <a:pt x="760" y="130"/>
                </a:lnTo>
                <a:lnTo>
                  <a:pt x="765" y="130"/>
                </a:lnTo>
                <a:close/>
                <a:moveTo>
                  <a:pt x="1939" y="232"/>
                </a:moveTo>
                <a:lnTo>
                  <a:pt x="1945" y="232"/>
                </a:lnTo>
                <a:lnTo>
                  <a:pt x="1950" y="232"/>
                </a:lnTo>
                <a:lnTo>
                  <a:pt x="1945" y="232"/>
                </a:lnTo>
                <a:lnTo>
                  <a:pt x="1945" y="238"/>
                </a:lnTo>
                <a:lnTo>
                  <a:pt x="1950" y="238"/>
                </a:lnTo>
                <a:lnTo>
                  <a:pt x="1945" y="238"/>
                </a:lnTo>
                <a:lnTo>
                  <a:pt x="1945" y="244"/>
                </a:lnTo>
                <a:lnTo>
                  <a:pt x="1950" y="244"/>
                </a:lnTo>
                <a:lnTo>
                  <a:pt x="1950" y="238"/>
                </a:lnTo>
                <a:lnTo>
                  <a:pt x="1950" y="244"/>
                </a:lnTo>
                <a:lnTo>
                  <a:pt x="1945" y="244"/>
                </a:lnTo>
                <a:lnTo>
                  <a:pt x="1939" y="244"/>
                </a:lnTo>
                <a:lnTo>
                  <a:pt x="1939" y="249"/>
                </a:lnTo>
                <a:lnTo>
                  <a:pt x="1933" y="249"/>
                </a:lnTo>
                <a:lnTo>
                  <a:pt x="1927" y="249"/>
                </a:lnTo>
                <a:lnTo>
                  <a:pt x="1927" y="255"/>
                </a:lnTo>
                <a:lnTo>
                  <a:pt x="1922" y="255"/>
                </a:lnTo>
                <a:lnTo>
                  <a:pt x="1922" y="249"/>
                </a:lnTo>
                <a:lnTo>
                  <a:pt x="1927" y="249"/>
                </a:lnTo>
                <a:lnTo>
                  <a:pt x="1927" y="244"/>
                </a:lnTo>
                <a:lnTo>
                  <a:pt x="1927" y="238"/>
                </a:lnTo>
                <a:lnTo>
                  <a:pt x="1927" y="232"/>
                </a:lnTo>
                <a:lnTo>
                  <a:pt x="1933" y="232"/>
                </a:lnTo>
                <a:lnTo>
                  <a:pt x="1939" y="232"/>
                </a:lnTo>
                <a:close/>
                <a:moveTo>
                  <a:pt x="748" y="499"/>
                </a:moveTo>
                <a:lnTo>
                  <a:pt x="743" y="499"/>
                </a:lnTo>
                <a:lnTo>
                  <a:pt x="743" y="493"/>
                </a:lnTo>
                <a:lnTo>
                  <a:pt x="748" y="493"/>
                </a:lnTo>
                <a:lnTo>
                  <a:pt x="754" y="499"/>
                </a:lnTo>
                <a:lnTo>
                  <a:pt x="748" y="499"/>
                </a:lnTo>
                <a:close/>
                <a:moveTo>
                  <a:pt x="1927" y="221"/>
                </a:moveTo>
                <a:lnTo>
                  <a:pt x="1933" y="221"/>
                </a:lnTo>
                <a:lnTo>
                  <a:pt x="1933" y="227"/>
                </a:lnTo>
                <a:lnTo>
                  <a:pt x="1927" y="227"/>
                </a:lnTo>
                <a:lnTo>
                  <a:pt x="1927" y="221"/>
                </a:lnTo>
                <a:close/>
                <a:moveTo>
                  <a:pt x="737" y="476"/>
                </a:moveTo>
                <a:lnTo>
                  <a:pt x="737" y="482"/>
                </a:lnTo>
                <a:lnTo>
                  <a:pt x="731" y="482"/>
                </a:lnTo>
                <a:lnTo>
                  <a:pt x="726" y="482"/>
                </a:lnTo>
                <a:lnTo>
                  <a:pt x="726" y="487"/>
                </a:lnTo>
                <a:lnTo>
                  <a:pt x="726" y="482"/>
                </a:lnTo>
                <a:lnTo>
                  <a:pt x="731" y="476"/>
                </a:lnTo>
                <a:lnTo>
                  <a:pt x="737" y="476"/>
                </a:lnTo>
                <a:close/>
                <a:moveTo>
                  <a:pt x="1066" y="658"/>
                </a:moveTo>
                <a:lnTo>
                  <a:pt x="1071" y="658"/>
                </a:lnTo>
                <a:lnTo>
                  <a:pt x="1077" y="658"/>
                </a:lnTo>
                <a:lnTo>
                  <a:pt x="1071" y="658"/>
                </a:lnTo>
                <a:lnTo>
                  <a:pt x="1066" y="658"/>
                </a:lnTo>
                <a:lnTo>
                  <a:pt x="1060" y="658"/>
                </a:lnTo>
                <a:lnTo>
                  <a:pt x="1066" y="658"/>
                </a:lnTo>
                <a:close/>
                <a:moveTo>
                  <a:pt x="1060" y="658"/>
                </a:moveTo>
                <a:lnTo>
                  <a:pt x="1054" y="658"/>
                </a:lnTo>
                <a:lnTo>
                  <a:pt x="1049" y="658"/>
                </a:lnTo>
                <a:lnTo>
                  <a:pt x="1043" y="652"/>
                </a:lnTo>
                <a:lnTo>
                  <a:pt x="1049" y="652"/>
                </a:lnTo>
                <a:lnTo>
                  <a:pt x="1054" y="652"/>
                </a:lnTo>
                <a:lnTo>
                  <a:pt x="1054" y="658"/>
                </a:lnTo>
                <a:lnTo>
                  <a:pt x="1060" y="658"/>
                </a:lnTo>
                <a:close/>
                <a:moveTo>
                  <a:pt x="317" y="618"/>
                </a:moveTo>
                <a:lnTo>
                  <a:pt x="323" y="618"/>
                </a:lnTo>
                <a:lnTo>
                  <a:pt x="323" y="624"/>
                </a:lnTo>
                <a:lnTo>
                  <a:pt x="317" y="624"/>
                </a:lnTo>
                <a:lnTo>
                  <a:pt x="317" y="618"/>
                </a:lnTo>
                <a:close/>
                <a:moveTo>
                  <a:pt x="1032" y="646"/>
                </a:moveTo>
                <a:lnTo>
                  <a:pt x="1026" y="641"/>
                </a:lnTo>
                <a:lnTo>
                  <a:pt x="1020" y="641"/>
                </a:lnTo>
                <a:lnTo>
                  <a:pt x="1020" y="635"/>
                </a:lnTo>
                <a:lnTo>
                  <a:pt x="1026" y="635"/>
                </a:lnTo>
                <a:lnTo>
                  <a:pt x="1026" y="641"/>
                </a:lnTo>
                <a:lnTo>
                  <a:pt x="1032" y="641"/>
                </a:lnTo>
                <a:lnTo>
                  <a:pt x="1032" y="646"/>
                </a:lnTo>
                <a:close/>
                <a:moveTo>
                  <a:pt x="306" y="618"/>
                </a:moveTo>
                <a:lnTo>
                  <a:pt x="300" y="618"/>
                </a:lnTo>
                <a:lnTo>
                  <a:pt x="300" y="624"/>
                </a:lnTo>
                <a:lnTo>
                  <a:pt x="300" y="618"/>
                </a:lnTo>
                <a:lnTo>
                  <a:pt x="295" y="618"/>
                </a:lnTo>
                <a:lnTo>
                  <a:pt x="295" y="624"/>
                </a:lnTo>
                <a:lnTo>
                  <a:pt x="289" y="624"/>
                </a:lnTo>
                <a:lnTo>
                  <a:pt x="283" y="624"/>
                </a:lnTo>
                <a:lnTo>
                  <a:pt x="289" y="624"/>
                </a:lnTo>
                <a:lnTo>
                  <a:pt x="283" y="624"/>
                </a:lnTo>
                <a:lnTo>
                  <a:pt x="283" y="629"/>
                </a:lnTo>
                <a:lnTo>
                  <a:pt x="289" y="629"/>
                </a:lnTo>
                <a:lnTo>
                  <a:pt x="295" y="635"/>
                </a:lnTo>
                <a:lnTo>
                  <a:pt x="289" y="635"/>
                </a:lnTo>
                <a:lnTo>
                  <a:pt x="289" y="629"/>
                </a:lnTo>
                <a:lnTo>
                  <a:pt x="289" y="635"/>
                </a:lnTo>
                <a:lnTo>
                  <a:pt x="283" y="635"/>
                </a:lnTo>
                <a:lnTo>
                  <a:pt x="278" y="635"/>
                </a:lnTo>
                <a:lnTo>
                  <a:pt x="278" y="629"/>
                </a:lnTo>
                <a:lnTo>
                  <a:pt x="272" y="629"/>
                </a:lnTo>
                <a:lnTo>
                  <a:pt x="266" y="624"/>
                </a:lnTo>
                <a:lnTo>
                  <a:pt x="266" y="618"/>
                </a:lnTo>
                <a:lnTo>
                  <a:pt x="272" y="618"/>
                </a:lnTo>
                <a:lnTo>
                  <a:pt x="278" y="618"/>
                </a:lnTo>
                <a:lnTo>
                  <a:pt x="283" y="612"/>
                </a:lnTo>
                <a:lnTo>
                  <a:pt x="289" y="612"/>
                </a:lnTo>
                <a:lnTo>
                  <a:pt x="295" y="612"/>
                </a:lnTo>
                <a:lnTo>
                  <a:pt x="300" y="612"/>
                </a:lnTo>
                <a:lnTo>
                  <a:pt x="300" y="618"/>
                </a:lnTo>
                <a:lnTo>
                  <a:pt x="306" y="618"/>
                </a:lnTo>
                <a:close/>
                <a:moveTo>
                  <a:pt x="334" y="595"/>
                </a:moveTo>
                <a:lnTo>
                  <a:pt x="334" y="601"/>
                </a:lnTo>
                <a:lnTo>
                  <a:pt x="334" y="606"/>
                </a:lnTo>
                <a:lnTo>
                  <a:pt x="329" y="606"/>
                </a:lnTo>
                <a:lnTo>
                  <a:pt x="334" y="606"/>
                </a:lnTo>
                <a:lnTo>
                  <a:pt x="329" y="606"/>
                </a:lnTo>
                <a:lnTo>
                  <a:pt x="329" y="612"/>
                </a:lnTo>
                <a:lnTo>
                  <a:pt x="329" y="606"/>
                </a:lnTo>
                <a:lnTo>
                  <a:pt x="323" y="606"/>
                </a:lnTo>
                <a:lnTo>
                  <a:pt x="323" y="601"/>
                </a:lnTo>
                <a:lnTo>
                  <a:pt x="329" y="601"/>
                </a:lnTo>
                <a:lnTo>
                  <a:pt x="329" y="595"/>
                </a:lnTo>
                <a:lnTo>
                  <a:pt x="334" y="595"/>
                </a:lnTo>
                <a:close/>
                <a:moveTo>
                  <a:pt x="385" y="584"/>
                </a:moveTo>
                <a:lnTo>
                  <a:pt x="385" y="589"/>
                </a:lnTo>
                <a:lnTo>
                  <a:pt x="380" y="589"/>
                </a:lnTo>
                <a:lnTo>
                  <a:pt x="374" y="589"/>
                </a:lnTo>
                <a:lnTo>
                  <a:pt x="368" y="589"/>
                </a:lnTo>
                <a:lnTo>
                  <a:pt x="363" y="589"/>
                </a:lnTo>
                <a:lnTo>
                  <a:pt x="357" y="589"/>
                </a:lnTo>
                <a:lnTo>
                  <a:pt x="351" y="589"/>
                </a:lnTo>
                <a:lnTo>
                  <a:pt x="346" y="589"/>
                </a:lnTo>
                <a:lnTo>
                  <a:pt x="340" y="589"/>
                </a:lnTo>
                <a:lnTo>
                  <a:pt x="334" y="589"/>
                </a:lnTo>
                <a:lnTo>
                  <a:pt x="329" y="589"/>
                </a:lnTo>
                <a:lnTo>
                  <a:pt x="323" y="589"/>
                </a:lnTo>
                <a:lnTo>
                  <a:pt x="329" y="589"/>
                </a:lnTo>
                <a:lnTo>
                  <a:pt x="334" y="589"/>
                </a:lnTo>
                <a:lnTo>
                  <a:pt x="340" y="589"/>
                </a:lnTo>
                <a:lnTo>
                  <a:pt x="346" y="589"/>
                </a:lnTo>
                <a:lnTo>
                  <a:pt x="351" y="584"/>
                </a:lnTo>
                <a:lnTo>
                  <a:pt x="357" y="584"/>
                </a:lnTo>
                <a:lnTo>
                  <a:pt x="363" y="584"/>
                </a:lnTo>
                <a:lnTo>
                  <a:pt x="368" y="584"/>
                </a:lnTo>
                <a:lnTo>
                  <a:pt x="374" y="584"/>
                </a:lnTo>
                <a:lnTo>
                  <a:pt x="380" y="584"/>
                </a:lnTo>
                <a:lnTo>
                  <a:pt x="385" y="584"/>
                </a:lnTo>
                <a:close/>
                <a:moveTo>
                  <a:pt x="986" y="584"/>
                </a:moveTo>
                <a:lnTo>
                  <a:pt x="992" y="589"/>
                </a:lnTo>
                <a:lnTo>
                  <a:pt x="998" y="589"/>
                </a:lnTo>
                <a:lnTo>
                  <a:pt x="998" y="595"/>
                </a:lnTo>
                <a:lnTo>
                  <a:pt x="992" y="589"/>
                </a:lnTo>
                <a:lnTo>
                  <a:pt x="986" y="589"/>
                </a:lnTo>
                <a:lnTo>
                  <a:pt x="986" y="584"/>
                </a:lnTo>
                <a:close/>
                <a:moveTo>
                  <a:pt x="448" y="572"/>
                </a:moveTo>
                <a:lnTo>
                  <a:pt x="442" y="578"/>
                </a:lnTo>
                <a:lnTo>
                  <a:pt x="436" y="578"/>
                </a:lnTo>
                <a:lnTo>
                  <a:pt x="431" y="578"/>
                </a:lnTo>
                <a:lnTo>
                  <a:pt x="425" y="578"/>
                </a:lnTo>
                <a:lnTo>
                  <a:pt x="419" y="578"/>
                </a:lnTo>
                <a:lnTo>
                  <a:pt x="414" y="578"/>
                </a:lnTo>
                <a:lnTo>
                  <a:pt x="408" y="578"/>
                </a:lnTo>
                <a:lnTo>
                  <a:pt x="402" y="578"/>
                </a:lnTo>
                <a:lnTo>
                  <a:pt x="397" y="584"/>
                </a:lnTo>
                <a:lnTo>
                  <a:pt x="397" y="578"/>
                </a:lnTo>
                <a:lnTo>
                  <a:pt x="397" y="572"/>
                </a:lnTo>
                <a:lnTo>
                  <a:pt x="402" y="572"/>
                </a:lnTo>
                <a:lnTo>
                  <a:pt x="408" y="572"/>
                </a:lnTo>
                <a:lnTo>
                  <a:pt x="414" y="572"/>
                </a:lnTo>
                <a:lnTo>
                  <a:pt x="419" y="572"/>
                </a:lnTo>
                <a:lnTo>
                  <a:pt x="425" y="572"/>
                </a:lnTo>
                <a:lnTo>
                  <a:pt x="431" y="572"/>
                </a:lnTo>
                <a:lnTo>
                  <a:pt x="436" y="572"/>
                </a:lnTo>
                <a:lnTo>
                  <a:pt x="442" y="572"/>
                </a:lnTo>
                <a:lnTo>
                  <a:pt x="448" y="572"/>
                </a:lnTo>
                <a:close/>
                <a:moveTo>
                  <a:pt x="663" y="572"/>
                </a:moveTo>
                <a:lnTo>
                  <a:pt x="663" y="578"/>
                </a:lnTo>
                <a:lnTo>
                  <a:pt x="669" y="578"/>
                </a:lnTo>
                <a:lnTo>
                  <a:pt x="663" y="578"/>
                </a:lnTo>
                <a:lnTo>
                  <a:pt x="658" y="578"/>
                </a:lnTo>
                <a:lnTo>
                  <a:pt x="658" y="584"/>
                </a:lnTo>
                <a:lnTo>
                  <a:pt x="652" y="584"/>
                </a:lnTo>
                <a:lnTo>
                  <a:pt x="646" y="584"/>
                </a:lnTo>
                <a:lnTo>
                  <a:pt x="646" y="578"/>
                </a:lnTo>
                <a:lnTo>
                  <a:pt x="652" y="578"/>
                </a:lnTo>
                <a:lnTo>
                  <a:pt x="652" y="572"/>
                </a:lnTo>
                <a:lnTo>
                  <a:pt x="658" y="572"/>
                </a:lnTo>
                <a:lnTo>
                  <a:pt x="663" y="572"/>
                </a:lnTo>
                <a:close/>
                <a:moveTo>
                  <a:pt x="465" y="567"/>
                </a:moveTo>
                <a:lnTo>
                  <a:pt x="470" y="567"/>
                </a:lnTo>
                <a:lnTo>
                  <a:pt x="470" y="572"/>
                </a:lnTo>
                <a:lnTo>
                  <a:pt x="465" y="572"/>
                </a:lnTo>
                <a:lnTo>
                  <a:pt x="459" y="572"/>
                </a:lnTo>
                <a:lnTo>
                  <a:pt x="465" y="572"/>
                </a:lnTo>
                <a:lnTo>
                  <a:pt x="459" y="572"/>
                </a:lnTo>
                <a:lnTo>
                  <a:pt x="453" y="572"/>
                </a:lnTo>
                <a:lnTo>
                  <a:pt x="453" y="567"/>
                </a:lnTo>
                <a:lnTo>
                  <a:pt x="459" y="567"/>
                </a:lnTo>
                <a:lnTo>
                  <a:pt x="465" y="567"/>
                </a:lnTo>
                <a:close/>
                <a:moveTo>
                  <a:pt x="510" y="555"/>
                </a:moveTo>
                <a:lnTo>
                  <a:pt x="516" y="555"/>
                </a:lnTo>
                <a:lnTo>
                  <a:pt x="516" y="561"/>
                </a:lnTo>
                <a:lnTo>
                  <a:pt x="521" y="561"/>
                </a:lnTo>
                <a:lnTo>
                  <a:pt x="521" y="567"/>
                </a:lnTo>
                <a:lnTo>
                  <a:pt x="521" y="561"/>
                </a:lnTo>
                <a:lnTo>
                  <a:pt x="516" y="567"/>
                </a:lnTo>
                <a:lnTo>
                  <a:pt x="516" y="561"/>
                </a:lnTo>
                <a:lnTo>
                  <a:pt x="510" y="561"/>
                </a:lnTo>
                <a:lnTo>
                  <a:pt x="504" y="561"/>
                </a:lnTo>
                <a:lnTo>
                  <a:pt x="499" y="561"/>
                </a:lnTo>
                <a:lnTo>
                  <a:pt x="499" y="567"/>
                </a:lnTo>
                <a:lnTo>
                  <a:pt x="493" y="567"/>
                </a:lnTo>
                <a:lnTo>
                  <a:pt x="487" y="567"/>
                </a:lnTo>
                <a:lnTo>
                  <a:pt x="487" y="572"/>
                </a:lnTo>
                <a:lnTo>
                  <a:pt x="482" y="572"/>
                </a:lnTo>
                <a:lnTo>
                  <a:pt x="482" y="567"/>
                </a:lnTo>
                <a:lnTo>
                  <a:pt x="476" y="567"/>
                </a:lnTo>
                <a:lnTo>
                  <a:pt x="482" y="567"/>
                </a:lnTo>
                <a:lnTo>
                  <a:pt x="482" y="561"/>
                </a:lnTo>
                <a:lnTo>
                  <a:pt x="487" y="561"/>
                </a:lnTo>
                <a:lnTo>
                  <a:pt x="487" y="555"/>
                </a:lnTo>
                <a:lnTo>
                  <a:pt x="499" y="555"/>
                </a:lnTo>
                <a:lnTo>
                  <a:pt x="504" y="555"/>
                </a:lnTo>
                <a:lnTo>
                  <a:pt x="510" y="555"/>
                </a:lnTo>
                <a:close/>
                <a:moveTo>
                  <a:pt x="618" y="561"/>
                </a:moveTo>
                <a:lnTo>
                  <a:pt x="624" y="561"/>
                </a:lnTo>
                <a:lnTo>
                  <a:pt x="624" y="567"/>
                </a:lnTo>
                <a:lnTo>
                  <a:pt x="618" y="567"/>
                </a:lnTo>
                <a:lnTo>
                  <a:pt x="618" y="561"/>
                </a:lnTo>
                <a:close/>
                <a:moveTo>
                  <a:pt x="618" y="550"/>
                </a:moveTo>
                <a:lnTo>
                  <a:pt x="624" y="550"/>
                </a:lnTo>
                <a:lnTo>
                  <a:pt x="624" y="561"/>
                </a:lnTo>
                <a:lnTo>
                  <a:pt x="618" y="561"/>
                </a:lnTo>
                <a:lnTo>
                  <a:pt x="618" y="550"/>
                </a:lnTo>
                <a:close/>
                <a:moveTo>
                  <a:pt x="550" y="550"/>
                </a:moveTo>
                <a:lnTo>
                  <a:pt x="555" y="550"/>
                </a:lnTo>
                <a:lnTo>
                  <a:pt x="561" y="550"/>
                </a:lnTo>
                <a:lnTo>
                  <a:pt x="567" y="550"/>
                </a:lnTo>
                <a:lnTo>
                  <a:pt x="567" y="555"/>
                </a:lnTo>
                <a:lnTo>
                  <a:pt x="573" y="555"/>
                </a:lnTo>
                <a:lnTo>
                  <a:pt x="567" y="555"/>
                </a:lnTo>
                <a:lnTo>
                  <a:pt x="561" y="555"/>
                </a:lnTo>
                <a:lnTo>
                  <a:pt x="555" y="555"/>
                </a:lnTo>
                <a:lnTo>
                  <a:pt x="555" y="561"/>
                </a:lnTo>
                <a:lnTo>
                  <a:pt x="550" y="561"/>
                </a:lnTo>
                <a:lnTo>
                  <a:pt x="544" y="555"/>
                </a:lnTo>
                <a:lnTo>
                  <a:pt x="538" y="555"/>
                </a:lnTo>
                <a:lnTo>
                  <a:pt x="538" y="561"/>
                </a:lnTo>
                <a:lnTo>
                  <a:pt x="533" y="561"/>
                </a:lnTo>
                <a:lnTo>
                  <a:pt x="533" y="555"/>
                </a:lnTo>
                <a:lnTo>
                  <a:pt x="533" y="550"/>
                </a:lnTo>
                <a:lnTo>
                  <a:pt x="538" y="550"/>
                </a:lnTo>
                <a:lnTo>
                  <a:pt x="544" y="550"/>
                </a:lnTo>
                <a:lnTo>
                  <a:pt x="550" y="550"/>
                </a:lnTo>
                <a:close/>
                <a:moveTo>
                  <a:pt x="601" y="550"/>
                </a:moveTo>
                <a:lnTo>
                  <a:pt x="607" y="550"/>
                </a:lnTo>
                <a:lnTo>
                  <a:pt x="612" y="555"/>
                </a:lnTo>
                <a:lnTo>
                  <a:pt x="607" y="555"/>
                </a:lnTo>
                <a:lnTo>
                  <a:pt x="607" y="550"/>
                </a:lnTo>
                <a:lnTo>
                  <a:pt x="601" y="550"/>
                </a:lnTo>
                <a:lnTo>
                  <a:pt x="595" y="550"/>
                </a:lnTo>
                <a:lnTo>
                  <a:pt x="590" y="550"/>
                </a:lnTo>
                <a:lnTo>
                  <a:pt x="584" y="550"/>
                </a:lnTo>
                <a:lnTo>
                  <a:pt x="584" y="555"/>
                </a:lnTo>
                <a:lnTo>
                  <a:pt x="584" y="550"/>
                </a:lnTo>
                <a:lnTo>
                  <a:pt x="578" y="550"/>
                </a:lnTo>
                <a:lnTo>
                  <a:pt x="578" y="544"/>
                </a:lnTo>
                <a:lnTo>
                  <a:pt x="584" y="544"/>
                </a:lnTo>
                <a:lnTo>
                  <a:pt x="590" y="544"/>
                </a:lnTo>
                <a:lnTo>
                  <a:pt x="595" y="544"/>
                </a:lnTo>
                <a:lnTo>
                  <a:pt x="601" y="550"/>
                </a:lnTo>
                <a:close/>
                <a:moveTo>
                  <a:pt x="714" y="533"/>
                </a:moveTo>
                <a:lnTo>
                  <a:pt x="709" y="533"/>
                </a:lnTo>
                <a:lnTo>
                  <a:pt x="709" y="538"/>
                </a:lnTo>
                <a:lnTo>
                  <a:pt x="703" y="533"/>
                </a:lnTo>
                <a:lnTo>
                  <a:pt x="709" y="533"/>
                </a:lnTo>
                <a:lnTo>
                  <a:pt x="709" y="527"/>
                </a:lnTo>
                <a:lnTo>
                  <a:pt x="714" y="527"/>
                </a:lnTo>
                <a:lnTo>
                  <a:pt x="714" y="533"/>
                </a:lnTo>
                <a:close/>
                <a:moveTo>
                  <a:pt x="1514" y="453"/>
                </a:moveTo>
                <a:lnTo>
                  <a:pt x="1514" y="459"/>
                </a:lnTo>
                <a:lnTo>
                  <a:pt x="1514" y="453"/>
                </a:lnTo>
                <a:lnTo>
                  <a:pt x="1514" y="459"/>
                </a:lnTo>
                <a:lnTo>
                  <a:pt x="1508" y="459"/>
                </a:lnTo>
                <a:lnTo>
                  <a:pt x="1514" y="459"/>
                </a:lnTo>
                <a:lnTo>
                  <a:pt x="1508" y="459"/>
                </a:lnTo>
                <a:lnTo>
                  <a:pt x="1514" y="465"/>
                </a:lnTo>
                <a:lnTo>
                  <a:pt x="1508" y="465"/>
                </a:lnTo>
                <a:lnTo>
                  <a:pt x="1514" y="465"/>
                </a:lnTo>
                <a:lnTo>
                  <a:pt x="1508" y="465"/>
                </a:lnTo>
                <a:lnTo>
                  <a:pt x="1514" y="465"/>
                </a:lnTo>
                <a:lnTo>
                  <a:pt x="1508" y="465"/>
                </a:lnTo>
                <a:lnTo>
                  <a:pt x="1514" y="465"/>
                </a:lnTo>
                <a:lnTo>
                  <a:pt x="1514" y="470"/>
                </a:lnTo>
                <a:lnTo>
                  <a:pt x="1508" y="470"/>
                </a:lnTo>
                <a:lnTo>
                  <a:pt x="1508" y="476"/>
                </a:lnTo>
                <a:lnTo>
                  <a:pt x="1502" y="476"/>
                </a:lnTo>
                <a:lnTo>
                  <a:pt x="1508" y="476"/>
                </a:lnTo>
                <a:lnTo>
                  <a:pt x="1502" y="476"/>
                </a:lnTo>
                <a:lnTo>
                  <a:pt x="1508" y="476"/>
                </a:lnTo>
                <a:lnTo>
                  <a:pt x="1502" y="476"/>
                </a:lnTo>
                <a:lnTo>
                  <a:pt x="1502" y="470"/>
                </a:lnTo>
                <a:lnTo>
                  <a:pt x="1502" y="465"/>
                </a:lnTo>
                <a:lnTo>
                  <a:pt x="1502" y="459"/>
                </a:lnTo>
                <a:lnTo>
                  <a:pt x="1502" y="465"/>
                </a:lnTo>
                <a:lnTo>
                  <a:pt x="1497" y="465"/>
                </a:lnTo>
                <a:lnTo>
                  <a:pt x="1497" y="470"/>
                </a:lnTo>
                <a:lnTo>
                  <a:pt x="1497" y="476"/>
                </a:lnTo>
                <a:lnTo>
                  <a:pt x="1491" y="476"/>
                </a:lnTo>
                <a:lnTo>
                  <a:pt x="1491" y="470"/>
                </a:lnTo>
                <a:lnTo>
                  <a:pt x="1485" y="470"/>
                </a:lnTo>
                <a:lnTo>
                  <a:pt x="1485" y="476"/>
                </a:lnTo>
                <a:lnTo>
                  <a:pt x="1491" y="476"/>
                </a:lnTo>
                <a:lnTo>
                  <a:pt x="1497" y="476"/>
                </a:lnTo>
                <a:lnTo>
                  <a:pt x="1491" y="476"/>
                </a:lnTo>
                <a:lnTo>
                  <a:pt x="1485" y="476"/>
                </a:lnTo>
                <a:lnTo>
                  <a:pt x="1485" y="470"/>
                </a:lnTo>
                <a:lnTo>
                  <a:pt x="1485" y="465"/>
                </a:lnTo>
                <a:lnTo>
                  <a:pt x="1485" y="459"/>
                </a:lnTo>
                <a:lnTo>
                  <a:pt x="1491" y="459"/>
                </a:lnTo>
                <a:lnTo>
                  <a:pt x="1491" y="453"/>
                </a:lnTo>
                <a:lnTo>
                  <a:pt x="1497" y="453"/>
                </a:lnTo>
                <a:lnTo>
                  <a:pt x="1502" y="453"/>
                </a:lnTo>
                <a:lnTo>
                  <a:pt x="1502" y="448"/>
                </a:lnTo>
                <a:lnTo>
                  <a:pt x="1508" y="448"/>
                </a:lnTo>
                <a:lnTo>
                  <a:pt x="1514" y="448"/>
                </a:lnTo>
                <a:lnTo>
                  <a:pt x="1514" y="453"/>
                </a:lnTo>
                <a:close/>
                <a:moveTo>
                  <a:pt x="2103" y="391"/>
                </a:moveTo>
                <a:lnTo>
                  <a:pt x="2103" y="397"/>
                </a:lnTo>
                <a:lnTo>
                  <a:pt x="2103" y="391"/>
                </a:lnTo>
                <a:close/>
                <a:moveTo>
                  <a:pt x="2098" y="363"/>
                </a:moveTo>
                <a:lnTo>
                  <a:pt x="2103" y="363"/>
                </a:lnTo>
                <a:lnTo>
                  <a:pt x="2103" y="368"/>
                </a:lnTo>
                <a:lnTo>
                  <a:pt x="2103" y="374"/>
                </a:lnTo>
                <a:lnTo>
                  <a:pt x="2109" y="374"/>
                </a:lnTo>
                <a:lnTo>
                  <a:pt x="2109" y="380"/>
                </a:lnTo>
                <a:lnTo>
                  <a:pt x="2115" y="385"/>
                </a:lnTo>
                <a:lnTo>
                  <a:pt x="2120" y="391"/>
                </a:lnTo>
                <a:lnTo>
                  <a:pt x="2126" y="397"/>
                </a:lnTo>
                <a:lnTo>
                  <a:pt x="2132" y="397"/>
                </a:lnTo>
                <a:lnTo>
                  <a:pt x="2132" y="402"/>
                </a:lnTo>
                <a:lnTo>
                  <a:pt x="2137" y="402"/>
                </a:lnTo>
                <a:lnTo>
                  <a:pt x="2143" y="402"/>
                </a:lnTo>
                <a:lnTo>
                  <a:pt x="2149" y="408"/>
                </a:lnTo>
                <a:lnTo>
                  <a:pt x="2154" y="408"/>
                </a:lnTo>
                <a:lnTo>
                  <a:pt x="2154" y="414"/>
                </a:lnTo>
                <a:lnTo>
                  <a:pt x="2160" y="414"/>
                </a:lnTo>
                <a:lnTo>
                  <a:pt x="2166" y="419"/>
                </a:lnTo>
                <a:lnTo>
                  <a:pt x="2171" y="425"/>
                </a:lnTo>
                <a:lnTo>
                  <a:pt x="2177" y="431"/>
                </a:lnTo>
                <a:lnTo>
                  <a:pt x="2183" y="431"/>
                </a:lnTo>
                <a:lnTo>
                  <a:pt x="2183" y="436"/>
                </a:lnTo>
                <a:lnTo>
                  <a:pt x="2188" y="442"/>
                </a:lnTo>
                <a:lnTo>
                  <a:pt x="2194" y="442"/>
                </a:lnTo>
                <a:lnTo>
                  <a:pt x="2194" y="448"/>
                </a:lnTo>
                <a:lnTo>
                  <a:pt x="2200" y="448"/>
                </a:lnTo>
                <a:lnTo>
                  <a:pt x="2200" y="453"/>
                </a:lnTo>
                <a:lnTo>
                  <a:pt x="2205" y="453"/>
                </a:lnTo>
                <a:lnTo>
                  <a:pt x="2205" y="459"/>
                </a:lnTo>
                <a:lnTo>
                  <a:pt x="2211" y="459"/>
                </a:lnTo>
                <a:lnTo>
                  <a:pt x="2217" y="465"/>
                </a:lnTo>
                <a:lnTo>
                  <a:pt x="2211" y="465"/>
                </a:lnTo>
                <a:lnTo>
                  <a:pt x="2211" y="470"/>
                </a:lnTo>
                <a:lnTo>
                  <a:pt x="2205" y="470"/>
                </a:lnTo>
                <a:lnTo>
                  <a:pt x="2211" y="470"/>
                </a:lnTo>
                <a:lnTo>
                  <a:pt x="2211" y="476"/>
                </a:lnTo>
                <a:lnTo>
                  <a:pt x="2211" y="482"/>
                </a:lnTo>
                <a:lnTo>
                  <a:pt x="2211" y="487"/>
                </a:lnTo>
                <a:lnTo>
                  <a:pt x="2205" y="487"/>
                </a:lnTo>
                <a:lnTo>
                  <a:pt x="2200" y="487"/>
                </a:lnTo>
                <a:lnTo>
                  <a:pt x="2194" y="487"/>
                </a:lnTo>
                <a:lnTo>
                  <a:pt x="2188" y="487"/>
                </a:lnTo>
                <a:lnTo>
                  <a:pt x="2188" y="493"/>
                </a:lnTo>
                <a:lnTo>
                  <a:pt x="2188" y="487"/>
                </a:lnTo>
                <a:lnTo>
                  <a:pt x="2183" y="487"/>
                </a:lnTo>
                <a:lnTo>
                  <a:pt x="2177" y="487"/>
                </a:lnTo>
                <a:lnTo>
                  <a:pt x="2177" y="493"/>
                </a:lnTo>
                <a:lnTo>
                  <a:pt x="2171" y="493"/>
                </a:lnTo>
                <a:lnTo>
                  <a:pt x="2171" y="487"/>
                </a:lnTo>
                <a:lnTo>
                  <a:pt x="2166" y="487"/>
                </a:lnTo>
                <a:lnTo>
                  <a:pt x="2166" y="493"/>
                </a:lnTo>
                <a:lnTo>
                  <a:pt x="2160" y="493"/>
                </a:lnTo>
                <a:lnTo>
                  <a:pt x="2160" y="499"/>
                </a:lnTo>
                <a:lnTo>
                  <a:pt x="2154" y="499"/>
                </a:lnTo>
                <a:lnTo>
                  <a:pt x="2149" y="504"/>
                </a:lnTo>
                <a:lnTo>
                  <a:pt x="2143" y="504"/>
                </a:lnTo>
                <a:lnTo>
                  <a:pt x="2137" y="504"/>
                </a:lnTo>
                <a:lnTo>
                  <a:pt x="2137" y="499"/>
                </a:lnTo>
                <a:lnTo>
                  <a:pt x="2143" y="499"/>
                </a:lnTo>
                <a:lnTo>
                  <a:pt x="2143" y="504"/>
                </a:lnTo>
                <a:lnTo>
                  <a:pt x="2143" y="499"/>
                </a:lnTo>
                <a:lnTo>
                  <a:pt x="2149" y="499"/>
                </a:lnTo>
                <a:lnTo>
                  <a:pt x="2149" y="493"/>
                </a:lnTo>
                <a:lnTo>
                  <a:pt x="2143" y="493"/>
                </a:lnTo>
                <a:lnTo>
                  <a:pt x="2143" y="499"/>
                </a:lnTo>
                <a:lnTo>
                  <a:pt x="2137" y="499"/>
                </a:lnTo>
                <a:lnTo>
                  <a:pt x="2137" y="504"/>
                </a:lnTo>
                <a:lnTo>
                  <a:pt x="2132" y="504"/>
                </a:lnTo>
                <a:lnTo>
                  <a:pt x="2126" y="504"/>
                </a:lnTo>
                <a:lnTo>
                  <a:pt x="2120" y="504"/>
                </a:lnTo>
                <a:lnTo>
                  <a:pt x="2126" y="504"/>
                </a:lnTo>
                <a:lnTo>
                  <a:pt x="2120" y="504"/>
                </a:lnTo>
                <a:lnTo>
                  <a:pt x="2115" y="504"/>
                </a:lnTo>
                <a:lnTo>
                  <a:pt x="2115" y="499"/>
                </a:lnTo>
                <a:lnTo>
                  <a:pt x="2115" y="493"/>
                </a:lnTo>
                <a:lnTo>
                  <a:pt x="2120" y="493"/>
                </a:lnTo>
                <a:lnTo>
                  <a:pt x="2126" y="493"/>
                </a:lnTo>
                <a:lnTo>
                  <a:pt x="2126" y="487"/>
                </a:lnTo>
                <a:lnTo>
                  <a:pt x="2126" y="493"/>
                </a:lnTo>
                <a:lnTo>
                  <a:pt x="2132" y="493"/>
                </a:lnTo>
                <a:lnTo>
                  <a:pt x="2132" y="487"/>
                </a:lnTo>
                <a:lnTo>
                  <a:pt x="2137" y="487"/>
                </a:lnTo>
                <a:lnTo>
                  <a:pt x="2137" y="482"/>
                </a:lnTo>
                <a:lnTo>
                  <a:pt x="2143" y="482"/>
                </a:lnTo>
                <a:lnTo>
                  <a:pt x="2143" y="476"/>
                </a:lnTo>
                <a:lnTo>
                  <a:pt x="2143" y="470"/>
                </a:lnTo>
                <a:lnTo>
                  <a:pt x="2137" y="470"/>
                </a:lnTo>
                <a:lnTo>
                  <a:pt x="2143" y="470"/>
                </a:lnTo>
                <a:lnTo>
                  <a:pt x="2143" y="465"/>
                </a:lnTo>
                <a:lnTo>
                  <a:pt x="2137" y="465"/>
                </a:lnTo>
                <a:lnTo>
                  <a:pt x="2143" y="465"/>
                </a:lnTo>
                <a:lnTo>
                  <a:pt x="2137" y="465"/>
                </a:lnTo>
                <a:lnTo>
                  <a:pt x="2137" y="459"/>
                </a:lnTo>
                <a:lnTo>
                  <a:pt x="2137" y="453"/>
                </a:lnTo>
                <a:lnTo>
                  <a:pt x="2132" y="453"/>
                </a:lnTo>
                <a:lnTo>
                  <a:pt x="2132" y="448"/>
                </a:lnTo>
                <a:lnTo>
                  <a:pt x="2132" y="442"/>
                </a:lnTo>
                <a:lnTo>
                  <a:pt x="2137" y="442"/>
                </a:lnTo>
                <a:lnTo>
                  <a:pt x="2137" y="436"/>
                </a:lnTo>
                <a:lnTo>
                  <a:pt x="2143" y="436"/>
                </a:lnTo>
                <a:lnTo>
                  <a:pt x="2149" y="436"/>
                </a:lnTo>
                <a:lnTo>
                  <a:pt x="2149" y="442"/>
                </a:lnTo>
                <a:lnTo>
                  <a:pt x="2149" y="448"/>
                </a:lnTo>
                <a:lnTo>
                  <a:pt x="2149" y="453"/>
                </a:lnTo>
                <a:lnTo>
                  <a:pt x="2143" y="453"/>
                </a:lnTo>
                <a:lnTo>
                  <a:pt x="2149" y="453"/>
                </a:lnTo>
                <a:lnTo>
                  <a:pt x="2149" y="459"/>
                </a:lnTo>
                <a:lnTo>
                  <a:pt x="2143" y="459"/>
                </a:lnTo>
                <a:lnTo>
                  <a:pt x="2143" y="465"/>
                </a:lnTo>
                <a:lnTo>
                  <a:pt x="2149" y="465"/>
                </a:lnTo>
                <a:lnTo>
                  <a:pt x="2149" y="459"/>
                </a:lnTo>
                <a:lnTo>
                  <a:pt x="2149" y="453"/>
                </a:lnTo>
                <a:lnTo>
                  <a:pt x="2154" y="453"/>
                </a:lnTo>
                <a:lnTo>
                  <a:pt x="2160" y="453"/>
                </a:lnTo>
                <a:lnTo>
                  <a:pt x="2154" y="453"/>
                </a:lnTo>
                <a:lnTo>
                  <a:pt x="2160" y="453"/>
                </a:lnTo>
                <a:lnTo>
                  <a:pt x="2166" y="453"/>
                </a:lnTo>
                <a:lnTo>
                  <a:pt x="2160" y="453"/>
                </a:lnTo>
                <a:lnTo>
                  <a:pt x="2160" y="459"/>
                </a:lnTo>
                <a:lnTo>
                  <a:pt x="2166" y="459"/>
                </a:lnTo>
                <a:lnTo>
                  <a:pt x="2166" y="453"/>
                </a:lnTo>
                <a:lnTo>
                  <a:pt x="2166" y="448"/>
                </a:lnTo>
                <a:lnTo>
                  <a:pt x="2166" y="442"/>
                </a:lnTo>
                <a:lnTo>
                  <a:pt x="2171" y="442"/>
                </a:lnTo>
                <a:lnTo>
                  <a:pt x="2166" y="442"/>
                </a:lnTo>
                <a:lnTo>
                  <a:pt x="2166" y="436"/>
                </a:lnTo>
                <a:lnTo>
                  <a:pt x="2166" y="431"/>
                </a:lnTo>
                <a:lnTo>
                  <a:pt x="2166" y="425"/>
                </a:lnTo>
                <a:lnTo>
                  <a:pt x="2160" y="425"/>
                </a:lnTo>
                <a:lnTo>
                  <a:pt x="2160" y="431"/>
                </a:lnTo>
                <a:lnTo>
                  <a:pt x="2154" y="431"/>
                </a:lnTo>
                <a:lnTo>
                  <a:pt x="2154" y="425"/>
                </a:lnTo>
                <a:lnTo>
                  <a:pt x="2154" y="419"/>
                </a:lnTo>
                <a:lnTo>
                  <a:pt x="2154" y="414"/>
                </a:lnTo>
                <a:lnTo>
                  <a:pt x="2149" y="414"/>
                </a:lnTo>
                <a:lnTo>
                  <a:pt x="2149" y="408"/>
                </a:lnTo>
                <a:lnTo>
                  <a:pt x="2143" y="408"/>
                </a:lnTo>
                <a:lnTo>
                  <a:pt x="2137" y="408"/>
                </a:lnTo>
                <a:lnTo>
                  <a:pt x="2132" y="408"/>
                </a:lnTo>
                <a:lnTo>
                  <a:pt x="2132" y="414"/>
                </a:lnTo>
                <a:lnTo>
                  <a:pt x="2132" y="419"/>
                </a:lnTo>
                <a:lnTo>
                  <a:pt x="2132" y="414"/>
                </a:lnTo>
                <a:lnTo>
                  <a:pt x="2132" y="419"/>
                </a:lnTo>
                <a:lnTo>
                  <a:pt x="2137" y="419"/>
                </a:lnTo>
                <a:lnTo>
                  <a:pt x="2137" y="425"/>
                </a:lnTo>
                <a:lnTo>
                  <a:pt x="2137" y="431"/>
                </a:lnTo>
                <a:lnTo>
                  <a:pt x="2132" y="431"/>
                </a:lnTo>
                <a:lnTo>
                  <a:pt x="2132" y="425"/>
                </a:lnTo>
                <a:lnTo>
                  <a:pt x="2137" y="425"/>
                </a:lnTo>
                <a:lnTo>
                  <a:pt x="2137" y="419"/>
                </a:lnTo>
                <a:lnTo>
                  <a:pt x="2132" y="419"/>
                </a:lnTo>
                <a:lnTo>
                  <a:pt x="2132" y="425"/>
                </a:lnTo>
                <a:lnTo>
                  <a:pt x="2132" y="431"/>
                </a:lnTo>
                <a:lnTo>
                  <a:pt x="2126" y="431"/>
                </a:lnTo>
                <a:lnTo>
                  <a:pt x="2120" y="431"/>
                </a:lnTo>
                <a:lnTo>
                  <a:pt x="2120" y="436"/>
                </a:lnTo>
                <a:lnTo>
                  <a:pt x="2120" y="431"/>
                </a:lnTo>
                <a:lnTo>
                  <a:pt x="2120" y="425"/>
                </a:lnTo>
                <a:lnTo>
                  <a:pt x="2120" y="419"/>
                </a:lnTo>
                <a:lnTo>
                  <a:pt x="2120" y="425"/>
                </a:lnTo>
                <a:lnTo>
                  <a:pt x="2120" y="419"/>
                </a:lnTo>
                <a:lnTo>
                  <a:pt x="2126" y="419"/>
                </a:lnTo>
                <a:lnTo>
                  <a:pt x="2120" y="419"/>
                </a:lnTo>
                <a:lnTo>
                  <a:pt x="2120" y="414"/>
                </a:lnTo>
                <a:lnTo>
                  <a:pt x="2115" y="414"/>
                </a:lnTo>
                <a:lnTo>
                  <a:pt x="2120" y="414"/>
                </a:lnTo>
                <a:lnTo>
                  <a:pt x="2120" y="419"/>
                </a:lnTo>
                <a:lnTo>
                  <a:pt x="2115" y="419"/>
                </a:lnTo>
                <a:lnTo>
                  <a:pt x="2109" y="419"/>
                </a:lnTo>
                <a:lnTo>
                  <a:pt x="2109" y="425"/>
                </a:lnTo>
                <a:lnTo>
                  <a:pt x="2103" y="425"/>
                </a:lnTo>
                <a:lnTo>
                  <a:pt x="2103" y="431"/>
                </a:lnTo>
                <a:lnTo>
                  <a:pt x="2098" y="431"/>
                </a:lnTo>
                <a:lnTo>
                  <a:pt x="2098" y="425"/>
                </a:lnTo>
                <a:lnTo>
                  <a:pt x="2092" y="425"/>
                </a:lnTo>
                <a:lnTo>
                  <a:pt x="2098" y="425"/>
                </a:lnTo>
                <a:lnTo>
                  <a:pt x="2098" y="419"/>
                </a:lnTo>
                <a:lnTo>
                  <a:pt x="2103" y="419"/>
                </a:lnTo>
                <a:lnTo>
                  <a:pt x="2103" y="414"/>
                </a:lnTo>
                <a:lnTo>
                  <a:pt x="2098" y="414"/>
                </a:lnTo>
                <a:lnTo>
                  <a:pt x="2103" y="414"/>
                </a:lnTo>
                <a:lnTo>
                  <a:pt x="2103" y="408"/>
                </a:lnTo>
                <a:lnTo>
                  <a:pt x="2103" y="402"/>
                </a:lnTo>
                <a:lnTo>
                  <a:pt x="2103" y="397"/>
                </a:lnTo>
                <a:lnTo>
                  <a:pt x="2103" y="391"/>
                </a:lnTo>
                <a:lnTo>
                  <a:pt x="2098" y="391"/>
                </a:lnTo>
                <a:lnTo>
                  <a:pt x="2098" y="385"/>
                </a:lnTo>
                <a:lnTo>
                  <a:pt x="2098" y="380"/>
                </a:lnTo>
                <a:lnTo>
                  <a:pt x="2092" y="380"/>
                </a:lnTo>
                <a:lnTo>
                  <a:pt x="2092" y="374"/>
                </a:lnTo>
                <a:lnTo>
                  <a:pt x="2086" y="374"/>
                </a:lnTo>
                <a:lnTo>
                  <a:pt x="2092" y="374"/>
                </a:lnTo>
                <a:lnTo>
                  <a:pt x="2086" y="374"/>
                </a:lnTo>
                <a:lnTo>
                  <a:pt x="2086" y="368"/>
                </a:lnTo>
                <a:lnTo>
                  <a:pt x="2092" y="368"/>
                </a:lnTo>
                <a:lnTo>
                  <a:pt x="2092" y="363"/>
                </a:lnTo>
                <a:lnTo>
                  <a:pt x="2098" y="363"/>
                </a:lnTo>
                <a:close/>
                <a:moveTo>
                  <a:pt x="1922" y="312"/>
                </a:moveTo>
                <a:lnTo>
                  <a:pt x="1927" y="306"/>
                </a:lnTo>
                <a:lnTo>
                  <a:pt x="1927" y="312"/>
                </a:lnTo>
                <a:lnTo>
                  <a:pt x="1922" y="317"/>
                </a:lnTo>
                <a:lnTo>
                  <a:pt x="1922" y="312"/>
                </a:lnTo>
                <a:close/>
                <a:moveTo>
                  <a:pt x="2030" y="295"/>
                </a:moveTo>
                <a:lnTo>
                  <a:pt x="2030" y="300"/>
                </a:lnTo>
                <a:lnTo>
                  <a:pt x="2035" y="300"/>
                </a:lnTo>
                <a:lnTo>
                  <a:pt x="2030" y="300"/>
                </a:lnTo>
                <a:lnTo>
                  <a:pt x="2030" y="306"/>
                </a:lnTo>
                <a:lnTo>
                  <a:pt x="2024" y="306"/>
                </a:lnTo>
                <a:lnTo>
                  <a:pt x="2030" y="306"/>
                </a:lnTo>
                <a:lnTo>
                  <a:pt x="2030" y="300"/>
                </a:lnTo>
                <a:lnTo>
                  <a:pt x="2030" y="295"/>
                </a:lnTo>
                <a:close/>
                <a:moveTo>
                  <a:pt x="1774" y="295"/>
                </a:moveTo>
                <a:lnTo>
                  <a:pt x="1774" y="300"/>
                </a:lnTo>
                <a:lnTo>
                  <a:pt x="1774" y="295"/>
                </a:lnTo>
                <a:close/>
                <a:moveTo>
                  <a:pt x="1774" y="289"/>
                </a:moveTo>
                <a:lnTo>
                  <a:pt x="1774" y="295"/>
                </a:lnTo>
                <a:lnTo>
                  <a:pt x="1774" y="289"/>
                </a:lnTo>
                <a:close/>
                <a:moveTo>
                  <a:pt x="1769" y="289"/>
                </a:moveTo>
                <a:lnTo>
                  <a:pt x="1774" y="289"/>
                </a:lnTo>
                <a:lnTo>
                  <a:pt x="1769" y="289"/>
                </a:lnTo>
                <a:close/>
                <a:moveTo>
                  <a:pt x="1820" y="272"/>
                </a:moveTo>
                <a:lnTo>
                  <a:pt x="1825" y="272"/>
                </a:lnTo>
                <a:lnTo>
                  <a:pt x="1820" y="272"/>
                </a:lnTo>
                <a:close/>
                <a:moveTo>
                  <a:pt x="1814" y="261"/>
                </a:moveTo>
                <a:lnTo>
                  <a:pt x="1820" y="266"/>
                </a:lnTo>
                <a:lnTo>
                  <a:pt x="1825" y="266"/>
                </a:lnTo>
                <a:lnTo>
                  <a:pt x="1825" y="272"/>
                </a:lnTo>
                <a:lnTo>
                  <a:pt x="1820" y="272"/>
                </a:lnTo>
                <a:lnTo>
                  <a:pt x="1820" y="266"/>
                </a:lnTo>
                <a:lnTo>
                  <a:pt x="1814" y="266"/>
                </a:lnTo>
                <a:lnTo>
                  <a:pt x="1814" y="272"/>
                </a:lnTo>
                <a:lnTo>
                  <a:pt x="1808" y="272"/>
                </a:lnTo>
                <a:lnTo>
                  <a:pt x="1808" y="266"/>
                </a:lnTo>
                <a:lnTo>
                  <a:pt x="1814" y="266"/>
                </a:lnTo>
                <a:lnTo>
                  <a:pt x="1808" y="266"/>
                </a:lnTo>
                <a:lnTo>
                  <a:pt x="1814" y="266"/>
                </a:lnTo>
                <a:lnTo>
                  <a:pt x="1814" y="261"/>
                </a:lnTo>
                <a:close/>
                <a:moveTo>
                  <a:pt x="1905" y="249"/>
                </a:moveTo>
                <a:lnTo>
                  <a:pt x="1905" y="255"/>
                </a:lnTo>
                <a:lnTo>
                  <a:pt x="1899" y="255"/>
                </a:lnTo>
                <a:lnTo>
                  <a:pt x="1893" y="255"/>
                </a:lnTo>
                <a:lnTo>
                  <a:pt x="1888" y="255"/>
                </a:lnTo>
                <a:lnTo>
                  <a:pt x="1888" y="261"/>
                </a:lnTo>
                <a:lnTo>
                  <a:pt x="1888" y="255"/>
                </a:lnTo>
                <a:lnTo>
                  <a:pt x="1888" y="261"/>
                </a:lnTo>
                <a:lnTo>
                  <a:pt x="1888" y="255"/>
                </a:lnTo>
                <a:lnTo>
                  <a:pt x="1888" y="261"/>
                </a:lnTo>
                <a:lnTo>
                  <a:pt x="1888" y="255"/>
                </a:lnTo>
                <a:lnTo>
                  <a:pt x="1893" y="255"/>
                </a:lnTo>
                <a:lnTo>
                  <a:pt x="1899" y="255"/>
                </a:lnTo>
                <a:lnTo>
                  <a:pt x="1899" y="249"/>
                </a:lnTo>
                <a:lnTo>
                  <a:pt x="1899" y="255"/>
                </a:lnTo>
                <a:lnTo>
                  <a:pt x="1899" y="249"/>
                </a:lnTo>
                <a:lnTo>
                  <a:pt x="1905" y="249"/>
                </a:lnTo>
                <a:close/>
                <a:moveTo>
                  <a:pt x="1927" y="187"/>
                </a:moveTo>
                <a:lnTo>
                  <a:pt x="1927" y="193"/>
                </a:lnTo>
                <a:lnTo>
                  <a:pt x="1927" y="198"/>
                </a:lnTo>
                <a:lnTo>
                  <a:pt x="1927" y="193"/>
                </a:lnTo>
                <a:lnTo>
                  <a:pt x="1927" y="187"/>
                </a:lnTo>
                <a:lnTo>
                  <a:pt x="1927" y="193"/>
                </a:lnTo>
                <a:lnTo>
                  <a:pt x="1927" y="198"/>
                </a:lnTo>
                <a:lnTo>
                  <a:pt x="1927" y="193"/>
                </a:lnTo>
                <a:lnTo>
                  <a:pt x="1922" y="193"/>
                </a:lnTo>
                <a:lnTo>
                  <a:pt x="1922" y="187"/>
                </a:lnTo>
                <a:lnTo>
                  <a:pt x="1927" y="187"/>
                </a:lnTo>
                <a:lnTo>
                  <a:pt x="1922" y="187"/>
                </a:lnTo>
                <a:lnTo>
                  <a:pt x="1922" y="193"/>
                </a:lnTo>
                <a:lnTo>
                  <a:pt x="1916" y="193"/>
                </a:lnTo>
                <a:lnTo>
                  <a:pt x="1922" y="198"/>
                </a:lnTo>
                <a:lnTo>
                  <a:pt x="1916" y="198"/>
                </a:lnTo>
                <a:lnTo>
                  <a:pt x="1922" y="198"/>
                </a:lnTo>
                <a:lnTo>
                  <a:pt x="1916" y="198"/>
                </a:lnTo>
                <a:lnTo>
                  <a:pt x="1916" y="204"/>
                </a:lnTo>
                <a:lnTo>
                  <a:pt x="1922" y="204"/>
                </a:lnTo>
                <a:lnTo>
                  <a:pt x="1922" y="210"/>
                </a:lnTo>
                <a:lnTo>
                  <a:pt x="1916" y="210"/>
                </a:lnTo>
                <a:lnTo>
                  <a:pt x="1922" y="210"/>
                </a:lnTo>
                <a:lnTo>
                  <a:pt x="1922" y="215"/>
                </a:lnTo>
                <a:lnTo>
                  <a:pt x="1916" y="215"/>
                </a:lnTo>
                <a:lnTo>
                  <a:pt x="1916" y="221"/>
                </a:lnTo>
                <a:lnTo>
                  <a:pt x="1910" y="221"/>
                </a:lnTo>
                <a:lnTo>
                  <a:pt x="1910" y="227"/>
                </a:lnTo>
                <a:lnTo>
                  <a:pt x="1910" y="232"/>
                </a:lnTo>
                <a:lnTo>
                  <a:pt x="1910" y="238"/>
                </a:lnTo>
                <a:lnTo>
                  <a:pt x="1910" y="244"/>
                </a:lnTo>
                <a:lnTo>
                  <a:pt x="1910" y="249"/>
                </a:lnTo>
                <a:lnTo>
                  <a:pt x="1905" y="249"/>
                </a:lnTo>
                <a:lnTo>
                  <a:pt x="1905" y="244"/>
                </a:lnTo>
                <a:lnTo>
                  <a:pt x="1905" y="238"/>
                </a:lnTo>
                <a:lnTo>
                  <a:pt x="1905" y="232"/>
                </a:lnTo>
                <a:lnTo>
                  <a:pt x="1910" y="232"/>
                </a:lnTo>
                <a:lnTo>
                  <a:pt x="1910" y="227"/>
                </a:lnTo>
                <a:lnTo>
                  <a:pt x="1910" y="221"/>
                </a:lnTo>
                <a:lnTo>
                  <a:pt x="1910" y="215"/>
                </a:lnTo>
                <a:lnTo>
                  <a:pt x="1910" y="210"/>
                </a:lnTo>
                <a:lnTo>
                  <a:pt x="1916" y="210"/>
                </a:lnTo>
                <a:lnTo>
                  <a:pt x="1916" y="204"/>
                </a:lnTo>
                <a:lnTo>
                  <a:pt x="1916" y="198"/>
                </a:lnTo>
                <a:lnTo>
                  <a:pt x="1916" y="193"/>
                </a:lnTo>
                <a:lnTo>
                  <a:pt x="1916" y="187"/>
                </a:lnTo>
                <a:lnTo>
                  <a:pt x="1916" y="181"/>
                </a:lnTo>
                <a:lnTo>
                  <a:pt x="1922" y="181"/>
                </a:lnTo>
                <a:lnTo>
                  <a:pt x="1927" y="181"/>
                </a:lnTo>
                <a:lnTo>
                  <a:pt x="1927" y="187"/>
                </a:lnTo>
                <a:close/>
                <a:moveTo>
                  <a:pt x="1996" y="147"/>
                </a:moveTo>
                <a:lnTo>
                  <a:pt x="1996" y="153"/>
                </a:lnTo>
                <a:lnTo>
                  <a:pt x="1996" y="159"/>
                </a:lnTo>
                <a:lnTo>
                  <a:pt x="1990" y="159"/>
                </a:lnTo>
                <a:lnTo>
                  <a:pt x="1984" y="159"/>
                </a:lnTo>
                <a:lnTo>
                  <a:pt x="1984" y="164"/>
                </a:lnTo>
                <a:lnTo>
                  <a:pt x="1984" y="170"/>
                </a:lnTo>
                <a:lnTo>
                  <a:pt x="1984" y="176"/>
                </a:lnTo>
                <a:lnTo>
                  <a:pt x="1984" y="181"/>
                </a:lnTo>
                <a:lnTo>
                  <a:pt x="1990" y="181"/>
                </a:lnTo>
                <a:lnTo>
                  <a:pt x="1990" y="187"/>
                </a:lnTo>
                <a:lnTo>
                  <a:pt x="1996" y="187"/>
                </a:lnTo>
                <a:lnTo>
                  <a:pt x="1996" y="193"/>
                </a:lnTo>
                <a:lnTo>
                  <a:pt x="2001" y="193"/>
                </a:lnTo>
                <a:lnTo>
                  <a:pt x="2007" y="193"/>
                </a:lnTo>
                <a:lnTo>
                  <a:pt x="2013" y="193"/>
                </a:lnTo>
                <a:lnTo>
                  <a:pt x="2018" y="193"/>
                </a:lnTo>
                <a:lnTo>
                  <a:pt x="2024" y="193"/>
                </a:lnTo>
                <a:lnTo>
                  <a:pt x="2024" y="187"/>
                </a:lnTo>
                <a:lnTo>
                  <a:pt x="2030" y="187"/>
                </a:lnTo>
                <a:lnTo>
                  <a:pt x="2035" y="187"/>
                </a:lnTo>
                <a:lnTo>
                  <a:pt x="2041" y="187"/>
                </a:lnTo>
                <a:lnTo>
                  <a:pt x="2047" y="187"/>
                </a:lnTo>
                <a:lnTo>
                  <a:pt x="2052" y="187"/>
                </a:lnTo>
                <a:lnTo>
                  <a:pt x="2058" y="187"/>
                </a:lnTo>
                <a:lnTo>
                  <a:pt x="2058" y="193"/>
                </a:lnTo>
                <a:lnTo>
                  <a:pt x="2064" y="193"/>
                </a:lnTo>
                <a:lnTo>
                  <a:pt x="2064" y="198"/>
                </a:lnTo>
                <a:lnTo>
                  <a:pt x="2058" y="198"/>
                </a:lnTo>
                <a:lnTo>
                  <a:pt x="2064" y="198"/>
                </a:lnTo>
                <a:lnTo>
                  <a:pt x="2058" y="198"/>
                </a:lnTo>
                <a:lnTo>
                  <a:pt x="2064" y="198"/>
                </a:lnTo>
                <a:lnTo>
                  <a:pt x="2064" y="204"/>
                </a:lnTo>
                <a:lnTo>
                  <a:pt x="2064" y="210"/>
                </a:lnTo>
                <a:lnTo>
                  <a:pt x="2058" y="210"/>
                </a:lnTo>
                <a:lnTo>
                  <a:pt x="2058" y="215"/>
                </a:lnTo>
                <a:lnTo>
                  <a:pt x="2052" y="215"/>
                </a:lnTo>
                <a:lnTo>
                  <a:pt x="2052" y="221"/>
                </a:lnTo>
                <a:lnTo>
                  <a:pt x="2047" y="221"/>
                </a:lnTo>
                <a:lnTo>
                  <a:pt x="2047" y="227"/>
                </a:lnTo>
                <a:lnTo>
                  <a:pt x="2041" y="227"/>
                </a:lnTo>
                <a:lnTo>
                  <a:pt x="2041" y="232"/>
                </a:lnTo>
                <a:lnTo>
                  <a:pt x="2035" y="232"/>
                </a:lnTo>
                <a:lnTo>
                  <a:pt x="2035" y="238"/>
                </a:lnTo>
                <a:lnTo>
                  <a:pt x="2035" y="244"/>
                </a:lnTo>
                <a:lnTo>
                  <a:pt x="2035" y="249"/>
                </a:lnTo>
                <a:lnTo>
                  <a:pt x="2041" y="249"/>
                </a:lnTo>
                <a:lnTo>
                  <a:pt x="2041" y="255"/>
                </a:lnTo>
                <a:lnTo>
                  <a:pt x="2041" y="261"/>
                </a:lnTo>
                <a:lnTo>
                  <a:pt x="2047" y="261"/>
                </a:lnTo>
                <a:lnTo>
                  <a:pt x="2047" y="266"/>
                </a:lnTo>
                <a:lnTo>
                  <a:pt x="2052" y="266"/>
                </a:lnTo>
                <a:lnTo>
                  <a:pt x="2058" y="266"/>
                </a:lnTo>
                <a:lnTo>
                  <a:pt x="2064" y="266"/>
                </a:lnTo>
                <a:lnTo>
                  <a:pt x="2069" y="272"/>
                </a:lnTo>
                <a:lnTo>
                  <a:pt x="2075" y="272"/>
                </a:lnTo>
                <a:lnTo>
                  <a:pt x="2075" y="278"/>
                </a:lnTo>
                <a:lnTo>
                  <a:pt x="2075" y="283"/>
                </a:lnTo>
                <a:lnTo>
                  <a:pt x="2081" y="283"/>
                </a:lnTo>
                <a:lnTo>
                  <a:pt x="2081" y="289"/>
                </a:lnTo>
                <a:lnTo>
                  <a:pt x="2086" y="289"/>
                </a:lnTo>
                <a:lnTo>
                  <a:pt x="2081" y="295"/>
                </a:lnTo>
                <a:lnTo>
                  <a:pt x="2081" y="300"/>
                </a:lnTo>
                <a:lnTo>
                  <a:pt x="2075" y="300"/>
                </a:lnTo>
                <a:lnTo>
                  <a:pt x="2075" y="306"/>
                </a:lnTo>
                <a:lnTo>
                  <a:pt x="2075" y="312"/>
                </a:lnTo>
                <a:lnTo>
                  <a:pt x="2075" y="317"/>
                </a:lnTo>
                <a:lnTo>
                  <a:pt x="2081" y="317"/>
                </a:lnTo>
                <a:lnTo>
                  <a:pt x="2081" y="323"/>
                </a:lnTo>
                <a:lnTo>
                  <a:pt x="2075" y="323"/>
                </a:lnTo>
                <a:lnTo>
                  <a:pt x="2075" y="317"/>
                </a:lnTo>
                <a:lnTo>
                  <a:pt x="2069" y="317"/>
                </a:lnTo>
                <a:lnTo>
                  <a:pt x="2069" y="312"/>
                </a:lnTo>
                <a:lnTo>
                  <a:pt x="2069" y="317"/>
                </a:lnTo>
                <a:lnTo>
                  <a:pt x="2075" y="317"/>
                </a:lnTo>
                <a:lnTo>
                  <a:pt x="2075" y="312"/>
                </a:lnTo>
                <a:lnTo>
                  <a:pt x="2069" y="312"/>
                </a:lnTo>
                <a:lnTo>
                  <a:pt x="2064" y="312"/>
                </a:lnTo>
                <a:lnTo>
                  <a:pt x="2058" y="312"/>
                </a:lnTo>
                <a:lnTo>
                  <a:pt x="2058" y="306"/>
                </a:lnTo>
                <a:lnTo>
                  <a:pt x="2064" y="306"/>
                </a:lnTo>
                <a:lnTo>
                  <a:pt x="2069" y="306"/>
                </a:lnTo>
                <a:lnTo>
                  <a:pt x="2069" y="300"/>
                </a:lnTo>
                <a:lnTo>
                  <a:pt x="2075" y="300"/>
                </a:lnTo>
                <a:lnTo>
                  <a:pt x="2075" y="295"/>
                </a:lnTo>
                <a:lnTo>
                  <a:pt x="2069" y="295"/>
                </a:lnTo>
                <a:lnTo>
                  <a:pt x="2069" y="300"/>
                </a:lnTo>
                <a:lnTo>
                  <a:pt x="2069" y="295"/>
                </a:lnTo>
                <a:lnTo>
                  <a:pt x="2064" y="295"/>
                </a:lnTo>
                <a:lnTo>
                  <a:pt x="2058" y="300"/>
                </a:lnTo>
                <a:lnTo>
                  <a:pt x="2052" y="300"/>
                </a:lnTo>
                <a:lnTo>
                  <a:pt x="2047" y="300"/>
                </a:lnTo>
                <a:lnTo>
                  <a:pt x="2052" y="300"/>
                </a:lnTo>
                <a:lnTo>
                  <a:pt x="2058" y="300"/>
                </a:lnTo>
                <a:lnTo>
                  <a:pt x="2058" y="295"/>
                </a:lnTo>
                <a:lnTo>
                  <a:pt x="2064" y="295"/>
                </a:lnTo>
                <a:lnTo>
                  <a:pt x="2064" y="289"/>
                </a:lnTo>
                <a:lnTo>
                  <a:pt x="2069" y="289"/>
                </a:lnTo>
                <a:lnTo>
                  <a:pt x="2064" y="289"/>
                </a:lnTo>
                <a:lnTo>
                  <a:pt x="2058" y="289"/>
                </a:lnTo>
                <a:lnTo>
                  <a:pt x="2052" y="289"/>
                </a:lnTo>
                <a:lnTo>
                  <a:pt x="2058" y="289"/>
                </a:lnTo>
                <a:lnTo>
                  <a:pt x="2058" y="295"/>
                </a:lnTo>
                <a:lnTo>
                  <a:pt x="2052" y="295"/>
                </a:lnTo>
                <a:lnTo>
                  <a:pt x="2047" y="295"/>
                </a:lnTo>
                <a:lnTo>
                  <a:pt x="2047" y="289"/>
                </a:lnTo>
                <a:lnTo>
                  <a:pt x="2041" y="289"/>
                </a:lnTo>
                <a:lnTo>
                  <a:pt x="2035" y="289"/>
                </a:lnTo>
                <a:lnTo>
                  <a:pt x="2035" y="295"/>
                </a:lnTo>
                <a:lnTo>
                  <a:pt x="2030" y="295"/>
                </a:lnTo>
                <a:lnTo>
                  <a:pt x="2024" y="295"/>
                </a:lnTo>
                <a:lnTo>
                  <a:pt x="2024" y="289"/>
                </a:lnTo>
                <a:lnTo>
                  <a:pt x="2024" y="295"/>
                </a:lnTo>
                <a:lnTo>
                  <a:pt x="2018" y="295"/>
                </a:lnTo>
                <a:lnTo>
                  <a:pt x="2024" y="295"/>
                </a:lnTo>
                <a:lnTo>
                  <a:pt x="2018" y="295"/>
                </a:lnTo>
                <a:lnTo>
                  <a:pt x="2018" y="300"/>
                </a:lnTo>
                <a:lnTo>
                  <a:pt x="2013" y="300"/>
                </a:lnTo>
                <a:lnTo>
                  <a:pt x="2013" y="295"/>
                </a:lnTo>
                <a:lnTo>
                  <a:pt x="2007" y="295"/>
                </a:lnTo>
                <a:lnTo>
                  <a:pt x="2007" y="300"/>
                </a:lnTo>
                <a:lnTo>
                  <a:pt x="2013" y="300"/>
                </a:lnTo>
                <a:lnTo>
                  <a:pt x="2007" y="300"/>
                </a:lnTo>
                <a:lnTo>
                  <a:pt x="2013" y="300"/>
                </a:lnTo>
                <a:lnTo>
                  <a:pt x="2013" y="306"/>
                </a:lnTo>
                <a:lnTo>
                  <a:pt x="2007" y="306"/>
                </a:lnTo>
                <a:lnTo>
                  <a:pt x="2001" y="312"/>
                </a:lnTo>
                <a:lnTo>
                  <a:pt x="2001" y="317"/>
                </a:lnTo>
                <a:lnTo>
                  <a:pt x="1996" y="317"/>
                </a:lnTo>
                <a:lnTo>
                  <a:pt x="1996" y="323"/>
                </a:lnTo>
                <a:lnTo>
                  <a:pt x="1996" y="329"/>
                </a:lnTo>
                <a:lnTo>
                  <a:pt x="1996" y="323"/>
                </a:lnTo>
                <a:lnTo>
                  <a:pt x="1990" y="323"/>
                </a:lnTo>
                <a:lnTo>
                  <a:pt x="1984" y="323"/>
                </a:lnTo>
                <a:lnTo>
                  <a:pt x="1984" y="329"/>
                </a:lnTo>
                <a:lnTo>
                  <a:pt x="1984" y="323"/>
                </a:lnTo>
                <a:lnTo>
                  <a:pt x="1984" y="329"/>
                </a:lnTo>
                <a:lnTo>
                  <a:pt x="1984" y="334"/>
                </a:lnTo>
                <a:lnTo>
                  <a:pt x="1990" y="334"/>
                </a:lnTo>
                <a:lnTo>
                  <a:pt x="1990" y="329"/>
                </a:lnTo>
                <a:lnTo>
                  <a:pt x="1990" y="334"/>
                </a:lnTo>
                <a:lnTo>
                  <a:pt x="1984" y="334"/>
                </a:lnTo>
                <a:lnTo>
                  <a:pt x="1984" y="329"/>
                </a:lnTo>
                <a:lnTo>
                  <a:pt x="1990" y="329"/>
                </a:lnTo>
                <a:lnTo>
                  <a:pt x="1984" y="329"/>
                </a:lnTo>
                <a:lnTo>
                  <a:pt x="1990" y="329"/>
                </a:lnTo>
                <a:lnTo>
                  <a:pt x="1990" y="334"/>
                </a:lnTo>
                <a:lnTo>
                  <a:pt x="1996" y="329"/>
                </a:lnTo>
                <a:lnTo>
                  <a:pt x="2001" y="329"/>
                </a:lnTo>
                <a:lnTo>
                  <a:pt x="2001" y="334"/>
                </a:lnTo>
                <a:lnTo>
                  <a:pt x="2001" y="340"/>
                </a:lnTo>
                <a:lnTo>
                  <a:pt x="1996" y="346"/>
                </a:lnTo>
                <a:lnTo>
                  <a:pt x="1990" y="346"/>
                </a:lnTo>
                <a:lnTo>
                  <a:pt x="1990" y="340"/>
                </a:lnTo>
                <a:lnTo>
                  <a:pt x="1984" y="340"/>
                </a:lnTo>
                <a:lnTo>
                  <a:pt x="1979" y="340"/>
                </a:lnTo>
                <a:lnTo>
                  <a:pt x="1973" y="340"/>
                </a:lnTo>
                <a:lnTo>
                  <a:pt x="1973" y="334"/>
                </a:lnTo>
                <a:lnTo>
                  <a:pt x="1967" y="334"/>
                </a:lnTo>
                <a:lnTo>
                  <a:pt x="1973" y="334"/>
                </a:lnTo>
                <a:lnTo>
                  <a:pt x="1979" y="334"/>
                </a:lnTo>
                <a:lnTo>
                  <a:pt x="1979" y="340"/>
                </a:lnTo>
                <a:lnTo>
                  <a:pt x="1979" y="334"/>
                </a:lnTo>
                <a:lnTo>
                  <a:pt x="1979" y="329"/>
                </a:lnTo>
                <a:lnTo>
                  <a:pt x="1979" y="323"/>
                </a:lnTo>
                <a:lnTo>
                  <a:pt x="1979" y="329"/>
                </a:lnTo>
                <a:lnTo>
                  <a:pt x="1973" y="329"/>
                </a:lnTo>
                <a:lnTo>
                  <a:pt x="1979" y="329"/>
                </a:lnTo>
                <a:lnTo>
                  <a:pt x="1979" y="334"/>
                </a:lnTo>
                <a:lnTo>
                  <a:pt x="1973" y="334"/>
                </a:lnTo>
                <a:lnTo>
                  <a:pt x="1967" y="334"/>
                </a:lnTo>
                <a:lnTo>
                  <a:pt x="1962" y="334"/>
                </a:lnTo>
                <a:lnTo>
                  <a:pt x="1956" y="334"/>
                </a:lnTo>
                <a:lnTo>
                  <a:pt x="1956" y="329"/>
                </a:lnTo>
                <a:lnTo>
                  <a:pt x="1950" y="329"/>
                </a:lnTo>
                <a:lnTo>
                  <a:pt x="1950" y="323"/>
                </a:lnTo>
                <a:lnTo>
                  <a:pt x="1950" y="329"/>
                </a:lnTo>
                <a:lnTo>
                  <a:pt x="1945" y="329"/>
                </a:lnTo>
                <a:lnTo>
                  <a:pt x="1945" y="323"/>
                </a:lnTo>
                <a:lnTo>
                  <a:pt x="1945" y="317"/>
                </a:lnTo>
                <a:lnTo>
                  <a:pt x="1939" y="317"/>
                </a:lnTo>
                <a:lnTo>
                  <a:pt x="1939" y="323"/>
                </a:lnTo>
                <a:lnTo>
                  <a:pt x="1939" y="317"/>
                </a:lnTo>
                <a:lnTo>
                  <a:pt x="1933" y="323"/>
                </a:lnTo>
                <a:lnTo>
                  <a:pt x="1927" y="323"/>
                </a:lnTo>
                <a:lnTo>
                  <a:pt x="1927" y="317"/>
                </a:lnTo>
                <a:lnTo>
                  <a:pt x="1933" y="317"/>
                </a:lnTo>
                <a:lnTo>
                  <a:pt x="1933" y="312"/>
                </a:lnTo>
                <a:lnTo>
                  <a:pt x="1939" y="312"/>
                </a:lnTo>
                <a:lnTo>
                  <a:pt x="1939" y="317"/>
                </a:lnTo>
                <a:lnTo>
                  <a:pt x="1939" y="312"/>
                </a:lnTo>
                <a:lnTo>
                  <a:pt x="1939" y="317"/>
                </a:lnTo>
                <a:lnTo>
                  <a:pt x="1939" y="312"/>
                </a:lnTo>
                <a:lnTo>
                  <a:pt x="1933" y="312"/>
                </a:lnTo>
                <a:lnTo>
                  <a:pt x="1927" y="312"/>
                </a:lnTo>
                <a:lnTo>
                  <a:pt x="1933" y="306"/>
                </a:lnTo>
                <a:lnTo>
                  <a:pt x="1927" y="306"/>
                </a:lnTo>
                <a:lnTo>
                  <a:pt x="1927" y="300"/>
                </a:lnTo>
                <a:lnTo>
                  <a:pt x="1922" y="300"/>
                </a:lnTo>
                <a:lnTo>
                  <a:pt x="1922" y="295"/>
                </a:lnTo>
                <a:lnTo>
                  <a:pt x="1927" y="289"/>
                </a:lnTo>
                <a:lnTo>
                  <a:pt x="1922" y="289"/>
                </a:lnTo>
                <a:lnTo>
                  <a:pt x="1927" y="289"/>
                </a:lnTo>
                <a:lnTo>
                  <a:pt x="1927" y="283"/>
                </a:lnTo>
                <a:lnTo>
                  <a:pt x="1933" y="283"/>
                </a:lnTo>
                <a:lnTo>
                  <a:pt x="1939" y="283"/>
                </a:lnTo>
                <a:lnTo>
                  <a:pt x="1945" y="283"/>
                </a:lnTo>
                <a:lnTo>
                  <a:pt x="1950" y="283"/>
                </a:lnTo>
                <a:lnTo>
                  <a:pt x="1956" y="283"/>
                </a:lnTo>
                <a:lnTo>
                  <a:pt x="1950" y="283"/>
                </a:lnTo>
                <a:lnTo>
                  <a:pt x="1956" y="278"/>
                </a:lnTo>
                <a:lnTo>
                  <a:pt x="1962" y="278"/>
                </a:lnTo>
                <a:lnTo>
                  <a:pt x="1956" y="278"/>
                </a:lnTo>
                <a:lnTo>
                  <a:pt x="1950" y="278"/>
                </a:lnTo>
                <a:lnTo>
                  <a:pt x="1950" y="272"/>
                </a:lnTo>
                <a:lnTo>
                  <a:pt x="1950" y="266"/>
                </a:lnTo>
                <a:lnTo>
                  <a:pt x="1950" y="261"/>
                </a:lnTo>
                <a:lnTo>
                  <a:pt x="1945" y="261"/>
                </a:lnTo>
                <a:lnTo>
                  <a:pt x="1945" y="255"/>
                </a:lnTo>
                <a:lnTo>
                  <a:pt x="1945" y="261"/>
                </a:lnTo>
                <a:lnTo>
                  <a:pt x="1939" y="261"/>
                </a:lnTo>
                <a:lnTo>
                  <a:pt x="1933" y="261"/>
                </a:lnTo>
                <a:lnTo>
                  <a:pt x="1927" y="261"/>
                </a:lnTo>
                <a:lnTo>
                  <a:pt x="1933" y="261"/>
                </a:lnTo>
                <a:lnTo>
                  <a:pt x="1927" y="261"/>
                </a:lnTo>
                <a:lnTo>
                  <a:pt x="1933" y="261"/>
                </a:lnTo>
                <a:lnTo>
                  <a:pt x="1933" y="255"/>
                </a:lnTo>
                <a:lnTo>
                  <a:pt x="1933" y="249"/>
                </a:lnTo>
                <a:lnTo>
                  <a:pt x="1939" y="249"/>
                </a:lnTo>
                <a:lnTo>
                  <a:pt x="1945" y="249"/>
                </a:lnTo>
                <a:lnTo>
                  <a:pt x="1945" y="244"/>
                </a:lnTo>
                <a:lnTo>
                  <a:pt x="1950" y="244"/>
                </a:lnTo>
                <a:lnTo>
                  <a:pt x="1956" y="244"/>
                </a:lnTo>
                <a:lnTo>
                  <a:pt x="1950" y="244"/>
                </a:lnTo>
                <a:lnTo>
                  <a:pt x="1950" y="238"/>
                </a:lnTo>
                <a:lnTo>
                  <a:pt x="1956" y="238"/>
                </a:lnTo>
                <a:lnTo>
                  <a:pt x="1962" y="238"/>
                </a:lnTo>
                <a:lnTo>
                  <a:pt x="1956" y="238"/>
                </a:lnTo>
                <a:lnTo>
                  <a:pt x="1956" y="232"/>
                </a:lnTo>
                <a:lnTo>
                  <a:pt x="1950" y="232"/>
                </a:lnTo>
                <a:lnTo>
                  <a:pt x="1950" y="227"/>
                </a:lnTo>
                <a:lnTo>
                  <a:pt x="1950" y="221"/>
                </a:lnTo>
                <a:lnTo>
                  <a:pt x="1945" y="221"/>
                </a:lnTo>
                <a:lnTo>
                  <a:pt x="1945" y="227"/>
                </a:lnTo>
                <a:lnTo>
                  <a:pt x="1939" y="227"/>
                </a:lnTo>
                <a:lnTo>
                  <a:pt x="1933" y="227"/>
                </a:lnTo>
                <a:lnTo>
                  <a:pt x="1933" y="221"/>
                </a:lnTo>
                <a:lnTo>
                  <a:pt x="1933" y="215"/>
                </a:lnTo>
                <a:lnTo>
                  <a:pt x="1933" y="210"/>
                </a:lnTo>
                <a:lnTo>
                  <a:pt x="1927" y="210"/>
                </a:lnTo>
                <a:lnTo>
                  <a:pt x="1933" y="210"/>
                </a:lnTo>
                <a:lnTo>
                  <a:pt x="1939" y="210"/>
                </a:lnTo>
                <a:lnTo>
                  <a:pt x="1939" y="204"/>
                </a:lnTo>
                <a:lnTo>
                  <a:pt x="1945" y="204"/>
                </a:lnTo>
                <a:lnTo>
                  <a:pt x="1950" y="204"/>
                </a:lnTo>
                <a:lnTo>
                  <a:pt x="1956" y="204"/>
                </a:lnTo>
                <a:lnTo>
                  <a:pt x="1956" y="210"/>
                </a:lnTo>
                <a:lnTo>
                  <a:pt x="1962" y="210"/>
                </a:lnTo>
                <a:lnTo>
                  <a:pt x="1967" y="210"/>
                </a:lnTo>
                <a:lnTo>
                  <a:pt x="1962" y="210"/>
                </a:lnTo>
                <a:lnTo>
                  <a:pt x="1962" y="215"/>
                </a:lnTo>
                <a:lnTo>
                  <a:pt x="1967" y="215"/>
                </a:lnTo>
                <a:lnTo>
                  <a:pt x="1967" y="221"/>
                </a:lnTo>
                <a:lnTo>
                  <a:pt x="1967" y="215"/>
                </a:lnTo>
                <a:lnTo>
                  <a:pt x="1967" y="210"/>
                </a:lnTo>
                <a:lnTo>
                  <a:pt x="1967" y="204"/>
                </a:lnTo>
                <a:lnTo>
                  <a:pt x="1967" y="198"/>
                </a:lnTo>
                <a:lnTo>
                  <a:pt x="1973" y="198"/>
                </a:lnTo>
                <a:lnTo>
                  <a:pt x="1973" y="193"/>
                </a:lnTo>
                <a:lnTo>
                  <a:pt x="1973" y="198"/>
                </a:lnTo>
                <a:lnTo>
                  <a:pt x="1973" y="193"/>
                </a:lnTo>
                <a:lnTo>
                  <a:pt x="1979" y="193"/>
                </a:lnTo>
                <a:lnTo>
                  <a:pt x="1984" y="193"/>
                </a:lnTo>
                <a:lnTo>
                  <a:pt x="1979" y="193"/>
                </a:lnTo>
                <a:lnTo>
                  <a:pt x="1979" y="198"/>
                </a:lnTo>
                <a:lnTo>
                  <a:pt x="1979" y="204"/>
                </a:lnTo>
                <a:lnTo>
                  <a:pt x="1973" y="204"/>
                </a:lnTo>
                <a:lnTo>
                  <a:pt x="1979" y="204"/>
                </a:lnTo>
                <a:lnTo>
                  <a:pt x="1979" y="210"/>
                </a:lnTo>
                <a:lnTo>
                  <a:pt x="1984" y="210"/>
                </a:lnTo>
                <a:lnTo>
                  <a:pt x="1979" y="210"/>
                </a:lnTo>
                <a:lnTo>
                  <a:pt x="1979" y="215"/>
                </a:lnTo>
                <a:lnTo>
                  <a:pt x="1984" y="215"/>
                </a:lnTo>
                <a:lnTo>
                  <a:pt x="1990" y="215"/>
                </a:lnTo>
                <a:lnTo>
                  <a:pt x="1990" y="210"/>
                </a:lnTo>
                <a:lnTo>
                  <a:pt x="1984" y="210"/>
                </a:lnTo>
                <a:lnTo>
                  <a:pt x="1984" y="204"/>
                </a:lnTo>
                <a:lnTo>
                  <a:pt x="1979" y="204"/>
                </a:lnTo>
                <a:lnTo>
                  <a:pt x="1984" y="204"/>
                </a:lnTo>
                <a:lnTo>
                  <a:pt x="1984" y="198"/>
                </a:lnTo>
                <a:lnTo>
                  <a:pt x="1984" y="204"/>
                </a:lnTo>
                <a:lnTo>
                  <a:pt x="1990" y="204"/>
                </a:lnTo>
                <a:lnTo>
                  <a:pt x="1990" y="210"/>
                </a:lnTo>
                <a:lnTo>
                  <a:pt x="1996" y="215"/>
                </a:lnTo>
                <a:lnTo>
                  <a:pt x="1996" y="221"/>
                </a:lnTo>
                <a:lnTo>
                  <a:pt x="1996" y="227"/>
                </a:lnTo>
                <a:lnTo>
                  <a:pt x="2001" y="227"/>
                </a:lnTo>
                <a:lnTo>
                  <a:pt x="2001" y="232"/>
                </a:lnTo>
                <a:lnTo>
                  <a:pt x="2007" y="232"/>
                </a:lnTo>
                <a:lnTo>
                  <a:pt x="2001" y="232"/>
                </a:lnTo>
                <a:lnTo>
                  <a:pt x="2007" y="232"/>
                </a:lnTo>
                <a:lnTo>
                  <a:pt x="2007" y="238"/>
                </a:lnTo>
                <a:lnTo>
                  <a:pt x="2007" y="232"/>
                </a:lnTo>
                <a:lnTo>
                  <a:pt x="2013" y="232"/>
                </a:lnTo>
                <a:lnTo>
                  <a:pt x="2018" y="232"/>
                </a:lnTo>
                <a:lnTo>
                  <a:pt x="2013" y="232"/>
                </a:lnTo>
                <a:lnTo>
                  <a:pt x="2013" y="238"/>
                </a:lnTo>
                <a:lnTo>
                  <a:pt x="2013" y="244"/>
                </a:lnTo>
                <a:lnTo>
                  <a:pt x="2018" y="244"/>
                </a:lnTo>
                <a:lnTo>
                  <a:pt x="2018" y="249"/>
                </a:lnTo>
                <a:lnTo>
                  <a:pt x="2024" y="249"/>
                </a:lnTo>
                <a:lnTo>
                  <a:pt x="2018" y="249"/>
                </a:lnTo>
                <a:lnTo>
                  <a:pt x="2018" y="255"/>
                </a:lnTo>
                <a:lnTo>
                  <a:pt x="2018" y="249"/>
                </a:lnTo>
                <a:lnTo>
                  <a:pt x="2018" y="255"/>
                </a:lnTo>
                <a:lnTo>
                  <a:pt x="2013" y="255"/>
                </a:lnTo>
                <a:lnTo>
                  <a:pt x="2013" y="249"/>
                </a:lnTo>
                <a:lnTo>
                  <a:pt x="2018" y="249"/>
                </a:lnTo>
                <a:lnTo>
                  <a:pt x="2013" y="249"/>
                </a:lnTo>
                <a:lnTo>
                  <a:pt x="2013" y="255"/>
                </a:lnTo>
                <a:lnTo>
                  <a:pt x="2013" y="249"/>
                </a:lnTo>
                <a:lnTo>
                  <a:pt x="2013" y="255"/>
                </a:lnTo>
                <a:lnTo>
                  <a:pt x="2013" y="261"/>
                </a:lnTo>
                <a:lnTo>
                  <a:pt x="2018" y="261"/>
                </a:lnTo>
                <a:lnTo>
                  <a:pt x="2018" y="255"/>
                </a:lnTo>
                <a:lnTo>
                  <a:pt x="2018" y="261"/>
                </a:lnTo>
                <a:lnTo>
                  <a:pt x="2024" y="261"/>
                </a:lnTo>
                <a:lnTo>
                  <a:pt x="2030" y="261"/>
                </a:lnTo>
                <a:lnTo>
                  <a:pt x="2030" y="255"/>
                </a:lnTo>
                <a:lnTo>
                  <a:pt x="2024" y="255"/>
                </a:lnTo>
                <a:lnTo>
                  <a:pt x="2030" y="249"/>
                </a:lnTo>
                <a:lnTo>
                  <a:pt x="2030" y="255"/>
                </a:lnTo>
                <a:lnTo>
                  <a:pt x="2030" y="249"/>
                </a:lnTo>
                <a:lnTo>
                  <a:pt x="2035" y="249"/>
                </a:lnTo>
                <a:lnTo>
                  <a:pt x="2030" y="249"/>
                </a:lnTo>
                <a:lnTo>
                  <a:pt x="2024" y="249"/>
                </a:lnTo>
                <a:lnTo>
                  <a:pt x="2024" y="244"/>
                </a:lnTo>
                <a:lnTo>
                  <a:pt x="2030" y="244"/>
                </a:lnTo>
                <a:lnTo>
                  <a:pt x="2030" y="238"/>
                </a:lnTo>
                <a:lnTo>
                  <a:pt x="2030" y="232"/>
                </a:lnTo>
                <a:lnTo>
                  <a:pt x="2024" y="232"/>
                </a:lnTo>
                <a:lnTo>
                  <a:pt x="2018" y="232"/>
                </a:lnTo>
                <a:lnTo>
                  <a:pt x="2018" y="227"/>
                </a:lnTo>
                <a:lnTo>
                  <a:pt x="2018" y="221"/>
                </a:lnTo>
                <a:lnTo>
                  <a:pt x="2018" y="215"/>
                </a:lnTo>
                <a:lnTo>
                  <a:pt x="2018" y="210"/>
                </a:lnTo>
                <a:lnTo>
                  <a:pt x="2018" y="215"/>
                </a:lnTo>
                <a:lnTo>
                  <a:pt x="2018" y="210"/>
                </a:lnTo>
                <a:lnTo>
                  <a:pt x="2018" y="204"/>
                </a:lnTo>
                <a:lnTo>
                  <a:pt x="2013" y="204"/>
                </a:lnTo>
                <a:lnTo>
                  <a:pt x="2013" y="198"/>
                </a:lnTo>
                <a:lnTo>
                  <a:pt x="2018" y="198"/>
                </a:lnTo>
                <a:lnTo>
                  <a:pt x="2018" y="193"/>
                </a:lnTo>
                <a:lnTo>
                  <a:pt x="2018" y="198"/>
                </a:lnTo>
                <a:lnTo>
                  <a:pt x="2013" y="198"/>
                </a:lnTo>
                <a:lnTo>
                  <a:pt x="2013" y="204"/>
                </a:lnTo>
                <a:lnTo>
                  <a:pt x="2013" y="198"/>
                </a:lnTo>
                <a:lnTo>
                  <a:pt x="2013" y="204"/>
                </a:lnTo>
                <a:lnTo>
                  <a:pt x="2007" y="204"/>
                </a:lnTo>
                <a:lnTo>
                  <a:pt x="2001" y="204"/>
                </a:lnTo>
                <a:lnTo>
                  <a:pt x="2001" y="198"/>
                </a:lnTo>
                <a:lnTo>
                  <a:pt x="1996" y="198"/>
                </a:lnTo>
                <a:lnTo>
                  <a:pt x="1996" y="193"/>
                </a:lnTo>
                <a:lnTo>
                  <a:pt x="1990" y="193"/>
                </a:lnTo>
                <a:lnTo>
                  <a:pt x="1984" y="193"/>
                </a:lnTo>
                <a:lnTo>
                  <a:pt x="1984" y="187"/>
                </a:lnTo>
                <a:lnTo>
                  <a:pt x="1984" y="181"/>
                </a:lnTo>
                <a:lnTo>
                  <a:pt x="1984" y="176"/>
                </a:lnTo>
                <a:lnTo>
                  <a:pt x="1979" y="176"/>
                </a:lnTo>
                <a:lnTo>
                  <a:pt x="1979" y="181"/>
                </a:lnTo>
                <a:lnTo>
                  <a:pt x="1973" y="181"/>
                </a:lnTo>
                <a:lnTo>
                  <a:pt x="1973" y="187"/>
                </a:lnTo>
                <a:lnTo>
                  <a:pt x="1973" y="193"/>
                </a:lnTo>
                <a:lnTo>
                  <a:pt x="1967" y="193"/>
                </a:lnTo>
                <a:lnTo>
                  <a:pt x="1962" y="193"/>
                </a:lnTo>
                <a:lnTo>
                  <a:pt x="1962" y="198"/>
                </a:lnTo>
                <a:lnTo>
                  <a:pt x="1956" y="198"/>
                </a:lnTo>
                <a:lnTo>
                  <a:pt x="1950" y="198"/>
                </a:lnTo>
                <a:lnTo>
                  <a:pt x="1950" y="204"/>
                </a:lnTo>
                <a:lnTo>
                  <a:pt x="1950" y="198"/>
                </a:lnTo>
                <a:lnTo>
                  <a:pt x="1950" y="193"/>
                </a:lnTo>
                <a:lnTo>
                  <a:pt x="1956" y="193"/>
                </a:lnTo>
                <a:lnTo>
                  <a:pt x="1956" y="187"/>
                </a:lnTo>
                <a:lnTo>
                  <a:pt x="1956" y="181"/>
                </a:lnTo>
                <a:lnTo>
                  <a:pt x="1962" y="181"/>
                </a:lnTo>
                <a:lnTo>
                  <a:pt x="1962" y="176"/>
                </a:lnTo>
                <a:lnTo>
                  <a:pt x="1962" y="170"/>
                </a:lnTo>
                <a:lnTo>
                  <a:pt x="1962" y="164"/>
                </a:lnTo>
                <a:lnTo>
                  <a:pt x="1956" y="164"/>
                </a:lnTo>
                <a:lnTo>
                  <a:pt x="1950" y="164"/>
                </a:lnTo>
                <a:lnTo>
                  <a:pt x="1950" y="170"/>
                </a:lnTo>
                <a:lnTo>
                  <a:pt x="1945" y="170"/>
                </a:lnTo>
                <a:lnTo>
                  <a:pt x="1945" y="176"/>
                </a:lnTo>
                <a:lnTo>
                  <a:pt x="1945" y="181"/>
                </a:lnTo>
                <a:lnTo>
                  <a:pt x="1950" y="181"/>
                </a:lnTo>
                <a:lnTo>
                  <a:pt x="1950" y="187"/>
                </a:lnTo>
                <a:lnTo>
                  <a:pt x="1945" y="187"/>
                </a:lnTo>
                <a:lnTo>
                  <a:pt x="1945" y="193"/>
                </a:lnTo>
                <a:lnTo>
                  <a:pt x="1939" y="193"/>
                </a:lnTo>
                <a:lnTo>
                  <a:pt x="1939" y="198"/>
                </a:lnTo>
                <a:lnTo>
                  <a:pt x="1933" y="198"/>
                </a:lnTo>
                <a:lnTo>
                  <a:pt x="1939" y="198"/>
                </a:lnTo>
                <a:lnTo>
                  <a:pt x="1933" y="198"/>
                </a:lnTo>
                <a:lnTo>
                  <a:pt x="1933" y="204"/>
                </a:lnTo>
                <a:lnTo>
                  <a:pt x="1933" y="198"/>
                </a:lnTo>
                <a:lnTo>
                  <a:pt x="1933" y="204"/>
                </a:lnTo>
                <a:lnTo>
                  <a:pt x="1933" y="198"/>
                </a:lnTo>
                <a:lnTo>
                  <a:pt x="1927" y="198"/>
                </a:lnTo>
                <a:lnTo>
                  <a:pt x="1933" y="198"/>
                </a:lnTo>
                <a:lnTo>
                  <a:pt x="1933" y="193"/>
                </a:lnTo>
                <a:lnTo>
                  <a:pt x="1939" y="193"/>
                </a:lnTo>
                <a:lnTo>
                  <a:pt x="1939" y="187"/>
                </a:lnTo>
                <a:lnTo>
                  <a:pt x="1945" y="187"/>
                </a:lnTo>
                <a:lnTo>
                  <a:pt x="1945" y="181"/>
                </a:lnTo>
                <a:lnTo>
                  <a:pt x="1945" y="176"/>
                </a:lnTo>
                <a:lnTo>
                  <a:pt x="1945" y="170"/>
                </a:lnTo>
                <a:lnTo>
                  <a:pt x="1945" y="164"/>
                </a:lnTo>
                <a:lnTo>
                  <a:pt x="1950" y="159"/>
                </a:lnTo>
                <a:lnTo>
                  <a:pt x="1956" y="159"/>
                </a:lnTo>
                <a:lnTo>
                  <a:pt x="1956" y="153"/>
                </a:lnTo>
                <a:lnTo>
                  <a:pt x="1962" y="153"/>
                </a:lnTo>
                <a:lnTo>
                  <a:pt x="1967" y="153"/>
                </a:lnTo>
                <a:lnTo>
                  <a:pt x="1973" y="147"/>
                </a:lnTo>
                <a:lnTo>
                  <a:pt x="1979" y="147"/>
                </a:lnTo>
                <a:lnTo>
                  <a:pt x="1984" y="147"/>
                </a:lnTo>
                <a:lnTo>
                  <a:pt x="1990" y="147"/>
                </a:lnTo>
                <a:lnTo>
                  <a:pt x="1996" y="147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CA" sz="9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B224C05B-8C09-462F-9CF4-D0BD471F9284}"/>
              </a:ext>
            </a:extLst>
          </p:cNvPr>
          <p:cNvCxnSpPr>
            <a:cxnSpLocks/>
          </p:cNvCxnSpPr>
          <p:nvPr/>
        </p:nvCxnSpPr>
        <p:spPr bwMode="gray">
          <a:xfrm>
            <a:off x="900342" y="1836668"/>
            <a:ext cx="0" cy="499797"/>
          </a:xfrm>
          <a:prstGeom prst="line">
            <a:avLst/>
          </a:prstGeom>
          <a:ln w="952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E97ECF64-BBB5-42E0-9B1A-A770888BAB41}"/>
              </a:ext>
            </a:extLst>
          </p:cNvPr>
          <p:cNvCxnSpPr>
            <a:cxnSpLocks/>
          </p:cNvCxnSpPr>
          <p:nvPr/>
        </p:nvCxnSpPr>
        <p:spPr bwMode="gray">
          <a:xfrm>
            <a:off x="487362" y="1101063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4E81D05-9429-44E6-8F27-8FDFCC300EFD}"/>
              </a:ext>
            </a:extLst>
          </p:cNvPr>
          <p:cNvCxnSpPr>
            <a:cxnSpLocks/>
          </p:cNvCxnSpPr>
          <p:nvPr/>
        </p:nvCxnSpPr>
        <p:spPr bwMode="gray">
          <a:xfrm>
            <a:off x="487362" y="1758066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89BE296-5457-43DA-B126-609893BFBAE0}"/>
              </a:ext>
            </a:extLst>
          </p:cNvPr>
          <p:cNvCxnSpPr>
            <a:cxnSpLocks/>
          </p:cNvCxnSpPr>
          <p:nvPr/>
        </p:nvCxnSpPr>
        <p:spPr bwMode="gray">
          <a:xfrm>
            <a:off x="487362" y="3729073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D8D9AB9-D425-449B-A744-FC4244E616B2}"/>
              </a:ext>
            </a:extLst>
          </p:cNvPr>
          <p:cNvCxnSpPr>
            <a:cxnSpLocks/>
          </p:cNvCxnSpPr>
          <p:nvPr/>
        </p:nvCxnSpPr>
        <p:spPr bwMode="gray">
          <a:xfrm>
            <a:off x="487362" y="2415069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B44B791-9747-47F4-B204-6F6895FD0AD5}"/>
              </a:ext>
            </a:extLst>
          </p:cNvPr>
          <p:cNvCxnSpPr>
            <a:cxnSpLocks/>
          </p:cNvCxnSpPr>
          <p:nvPr/>
        </p:nvCxnSpPr>
        <p:spPr bwMode="gray">
          <a:xfrm>
            <a:off x="490638" y="4464678"/>
            <a:ext cx="450000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E38DE45-B62E-40CB-A2DD-3D1EB5C29863}"/>
              </a:ext>
            </a:extLst>
          </p:cNvPr>
          <p:cNvCxnSpPr>
            <a:cxnSpLocks/>
          </p:cNvCxnSpPr>
          <p:nvPr/>
        </p:nvCxnSpPr>
        <p:spPr bwMode="gray">
          <a:xfrm>
            <a:off x="487362" y="3072070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94F030A-293F-4F9B-B06E-7CE2374069A3}"/>
              </a:ext>
            </a:extLst>
          </p:cNvPr>
          <p:cNvSpPr txBox="1">
            <a:spLocks/>
          </p:cNvSpPr>
          <p:nvPr/>
        </p:nvSpPr>
        <p:spPr bwMode="gray">
          <a:xfrm>
            <a:off x="1958490" y="4495457"/>
            <a:ext cx="40995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ust</a:t>
            </a:r>
          </a:p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079733-5832-4324-9EF6-ADD12A0D2DE2}"/>
              </a:ext>
            </a:extLst>
          </p:cNvPr>
          <p:cNvSpPr txBox="1">
            <a:spLocks/>
          </p:cNvSpPr>
          <p:nvPr/>
        </p:nvSpPr>
        <p:spPr bwMode="gray">
          <a:xfrm>
            <a:off x="3311677" y="4495456"/>
            <a:ext cx="53329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ktober</a:t>
            </a:r>
          </a:p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FA44B47-3514-4889-81F8-277E4D6158F1}"/>
              </a:ext>
            </a:extLst>
          </p:cNvPr>
          <p:cNvSpPr txBox="1">
            <a:spLocks/>
          </p:cNvSpPr>
          <p:nvPr/>
        </p:nvSpPr>
        <p:spPr bwMode="gray">
          <a:xfrm>
            <a:off x="3988271" y="4507007"/>
            <a:ext cx="67659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mber</a:t>
            </a:r>
          </a:p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4FB4CAA-6272-47D0-AC8B-9596AF794111}"/>
              </a:ext>
            </a:extLst>
          </p:cNvPr>
          <p:cNvCxnSpPr>
            <a:cxnSpLocks/>
          </p:cNvCxnSpPr>
          <p:nvPr/>
        </p:nvCxnSpPr>
        <p:spPr bwMode="gray">
          <a:xfrm>
            <a:off x="1958491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D1412FD-5592-4FAD-BA99-699D2A10FB35}"/>
              </a:ext>
            </a:extLst>
          </p:cNvPr>
          <p:cNvCxnSpPr>
            <a:cxnSpLocks/>
          </p:cNvCxnSpPr>
          <p:nvPr/>
        </p:nvCxnSpPr>
        <p:spPr bwMode="gray">
          <a:xfrm>
            <a:off x="2296788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CF78B1C-F251-4ABC-92FD-CB8FD87029F2}"/>
              </a:ext>
            </a:extLst>
          </p:cNvPr>
          <p:cNvCxnSpPr>
            <a:cxnSpLocks/>
          </p:cNvCxnSpPr>
          <p:nvPr/>
        </p:nvCxnSpPr>
        <p:spPr bwMode="gray">
          <a:xfrm>
            <a:off x="2635085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B29EB3C-E913-4D54-9E82-4EE8CDC00C70}"/>
              </a:ext>
            </a:extLst>
          </p:cNvPr>
          <p:cNvCxnSpPr>
            <a:cxnSpLocks/>
          </p:cNvCxnSpPr>
          <p:nvPr/>
        </p:nvCxnSpPr>
        <p:spPr bwMode="gray">
          <a:xfrm>
            <a:off x="2973382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962D89B-4989-4A8D-82AB-0F6D299A9BF8}"/>
              </a:ext>
            </a:extLst>
          </p:cNvPr>
          <p:cNvCxnSpPr>
            <a:cxnSpLocks/>
          </p:cNvCxnSpPr>
          <p:nvPr/>
        </p:nvCxnSpPr>
        <p:spPr bwMode="gray">
          <a:xfrm>
            <a:off x="3311679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96B4874-958E-4C48-BD01-5ABFBA0839D0}"/>
              </a:ext>
            </a:extLst>
          </p:cNvPr>
          <p:cNvCxnSpPr>
            <a:cxnSpLocks/>
          </p:cNvCxnSpPr>
          <p:nvPr/>
        </p:nvCxnSpPr>
        <p:spPr bwMode="gray">
          <a:xfrm>
            <a:off x="3988273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64CDA546-93E5-4C40-868F-76EEA4AEA2F9}"/>
              </a:ext>
            </a:extLst>
          </p:cNvPr>
          <p:cNvCxnSpPr>
            <a:cxnSpLocks/>
          </p:cNvCxnSpPr>
          <p:nvPr/>
        </p:nvCxnSpPr>
        <p:spPr bwMode="gray">
          <a:xfrm>
            <a:off x="4326570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0BF59AE-EC64-4A83-969A-9D70308DAEB0}"/>
              </a:ext>
            </a:extLst>
          </p:cNvPr>
          <p:cNvCxnSpPr>
            <a:cxnSpLocks/>
          </p:cNvCxnSpPr>
          <p:nvPr/>
        </p:nvCxnSpPr>
        <p:spPr bwMode="gray">
          <a:xfrm>
            <a:off x="4727419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reeform 85">
            <a:extLst>
              <a:ext uri="{FF2B5EF4-FFF2-40B4-BE49-F238E27FC236}">
                <a16:creationId xmlns:a16="http://schemas.microsoft.com/office/drawing/2014/main" id="{3224B3FA-5998-49F0-A08F-C66BE15F389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962385" y="2675994"/>
            <a:ext cx="1404000" cy="1351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436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436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34436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7677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7677 w 1828800"/>
              <a:gd name="connsiteY1" fmla="*/ 0 h 914400"/>
              <a:gd name="connsiteX2" fmla="*/ 1828800 w 1828800"/>
              <a:gd name="connsiteY2" fmla="*/ 457200 h 914400"/>
              <a:gd name="connsiteX3" fmla="*/ 180767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7677 w 1828800"/>
              <a:gd name="connsiteY1" fmla="*/ 0 h 914400"/>
              <a:gd name="connsiteX2" fmla="*/ 1828800 w 1828800"/>
              <a:gd name="connsiteY2" fmla="*/ 457200 h 914400"/>
              <a:gd name="connsiteX3" fmla="*/ 1807677 w 1828800"/>
              <a:gd name="connsiteY3" fmla="*/ 914400 h 914400"/>
              <a:gd name="connsiteX4" fmla="*/ 0 w 1828800"/>
              <a:gd name="connsiteY4" fmla="*/ 914400 h 914400"/>
              <a:gd name="connsiteX5" fmla="*/ 18991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7677 w 1828800"/>
              <a:gd name="connsiteY3" fmla="*/ 914400 h 914400"/>
              <a:gd name="connsiteX4" fmla="*/ 0 w 1828800"/>
              <a:gd name="connsiteY4" fmla="*/ 914400 h 914400"/>
              <a:gd name="connsiteX5" fmla="*/ 18991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9808 w 1828800"/>
              <a:gd name="connsiteY3" fmla="*/ 914400 h 914400"/>
              <a:gd name="connsiteX4" fmla="*/ 0 w 1828800"/>
              <a:gd name="connsiteY4" fmla="*/ 914400 h 914400"/>
              <a:gd name="connsiteX5" fmla="*/ 18991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98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98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98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09808" y="0"/>
                </a:lnTo>
                <a:lnTo>
                  <a:pt x="1828800" y="457200"/>
                </a:lnTo>
                <a:lnTo>
                  <a:pt x="1809808" y="914400"/>
                </a:lnTo>
                <a:lnTo>
                  <a:pt x="0" y="914400"/>
                </a:lnTo>
                <a:lnTo>
                  <a:pt x="0" y="457204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Freeform 85">
            <a:extLst>
              <a:ext uri="{FF2B5EF4-FFF2-40B4-BE49-F238E27FC236}">
                <a16:creationId xmlns:a16="http://schemas.microsoft.com/office/drawing/2014/main" id="{4A7310B6-D307-4B54-A5CF-F21FFCA4233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965596" y="3302754"/>
            <a:ext cx="1404000" cy="131655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5832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5832 w 1828800"/>
              <a:gd name="connsiteY1" fmla="*/ 0 h 914400"/>
              <a:gd name="connsiteX2" fmla="*/ 1828800 w 1828800"/>
              <a:gd name="connsiteY2" fmla="*/ 457200 h 914400"/>
              <a:gd name="connsiteX3" fmla="*/ 17958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5832 w 1828800"/>
              <a:gd name="connsiteY1" fmla="*/ 0 h 914400"/>
              <a:gd name="connsiteX2" fmla="*/ 1828800 w 1828800"/>
              <a:gd name="connsiteY2" fmla="*/ 457200 h 914400"/>
              <a:gd name="connsiteX3" fmla="*/ 17958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4670 w 1828800"/>
              <a:gd name="connsiteY1" fmla="*/ 0 h 914400"/>
              <a:gd name="connsiteX2" fmla="*/ 1828800 w 1828800"/>
              <a:gd name="connsiteY2" fmla="*/ 457200 h 914400"/>
              <a:gd name="connsiteX3" fmla="*/ 17958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4670 w 1828800"/>
              <a:gd name="connsiteY1" fmla="*/ 0 h 914400"/>
              <a:gd name="connsiteX2" fmla="*/ 1828800 w 1828800"/>
              <a:gd name="connsiteY2" fmla="*/ 457200 h 914400"/>
              <a:gd name="connsiteX3" fmla="*/ 180467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4670 w 1828800"/>
              <a:gd name="connsiteY1" fmla="*/ 0 h 914400"/>
              <a:gd name="connsiteX2" fmla="*/ 1828800 w 1828800"/>
              <a:gd name="connsiteY2" fmla="*/ 457200 h 914400"/>
              <a:gd name="connsiteX3" fmla="*/ 1804670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4670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07197" y="0"/>
                </a:lnTo>
                <a:lnTo>
                  <a:pt x="1828800" y="457200"/>
                </a:lnTo>
                <a:lnTo>
                  <a:pt x="1807197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Freeform 85">
            <a:extLst>
              <a:ext uri="{FF2B5EF4-FFF2-40B4-BE49-F238E27FC236}">
                <a16:creationId xmlns:a16="http://schemas.microsoft.com/office/drawing/2014/main" id="{4ED3F2BA-5947-47C0-B05C-6A14301BBB56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958980" y="3998860"/>
            <a:ext cx="2893389" cy="182991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77699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77699 w 1828800"/>
              <a:gd name="connsiteY1" fmla="*/ 0 h 914400"/>
              <a:gd name="connsiteX2" fmla="*/ 1828800 w 1828800"/>
              <a:gd name="connsiteY2" fmla="*/ 457200 h 914400"/>
              <a:gd name="connsiteX3" fmla="*/ 177769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77699 w 1828800"/>
              <a:gd name="connsiteY1" fmla="*/ 0 h 914400"/>
              <a:gd name="connsiteX2" fmla="*/ 1828800 w 1828800"/>
              <a:gd name="connsiteY2" fmla="*/ 457200 h 914400"/>
              <a:gd name="connsiteX3" fmla="*/ 177769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16397 w 1828800"/>
              <a:gd name="connsiteY1" fmla="*/ 0 h 914400"/>
              <a:gd name="connsiteX2" fmla="*/ 1828800 w 1828800"/>
              <a:gd name="connsiteY2" fmla="*/ 457200 h 914400"/>
              <a:gd name="connsiteX3" fmla="*/ 177769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16397 w 1828800"/>
              <a:gd name="connsiteY1" fmla="*/ 0 h 914400"/>
              <a:gd name="connsiteX2" fmla="*/ 1828800 w 1828800"/>
              <a:gd name="connsiteY2" fmla="*/ 457200 h 914400"/>
              <a:gd name="connsiteX3" fmla="*/ 18163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16397 w 1828800"/>
              <a:gd name="connsiteY1" fmla="*/ 0 h 914400"/>
              <a:gd name="connsiteX2" fmla="*/ 1828800 w 1828800"/>
              <a:gd name="connsiteY2" fmla="*/ 457200 h 914400"/>
              <a:gd name="connsiteX3" fmla="*/ 1816397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97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6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6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12026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1203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1203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0 w 1828800"/>
              <a:gd name="connsiteY3" fmla="*/ 914400 h 914400"/>
              <a:gd name="connsiteX4" fmla="*/ 0 w 1828800"/>
              <a:gd name="connsiteY4" fmla="*/ 914400 h 914400"/>
              <a:gd name="connsiteX5" fmla="*/ 1203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16770" y="0"/>
                </a:lnTo>
                <a:lnTo>
                  <a:pt x="1828800" y="457200"/>
                </a:lnTo>
                <a:lnTo>
                  <a:pt x="1816770" y="914400"/>
                </a:lnTo>
                <a:lnTo>
                  <a:pt x="0" y="914400"/>
                </a:lnTo>
                <a:lnTo>
                  <a:pt x="0" y="457205"/>
                </a:lnTo>
                <a:close/>
              </a:path>
            </a:pathLst>
          </a:custGeom>
          <a:pattFill prst="wdUpDiag">
            <a:fgClr>
              <a:schemeClr val="accent4"/>
            </a:fgClr>
            <a:bgClr>
              <a:schemeClr val="bg1"/>
            </a:bgClr>
          </a:pattFill>
          <a:ln w="9525" cap="flat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reeform 85">
            <a:extLst>
              <a:ext uri="{FF2B5EF4-FFF2-40B4-BE49-F238E27FC236}">
                <a16:creationId xmlns:a16="http://schemas.microsoft.com/office/drawing/2014/main" id="{BDEEDD43-85F2-48BE-A192-4D7B7C65149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958978" y="1345914"/>
            <a:ext cx="2195892" cy="12828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232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232 w 1828800"/>
              <a:gd name="connsiteY1" fmla="*/ 0 h 914400"/>
              <a:gd name="connsiteX2" fmla="*/ 1828800 w 1828800"/>
              <a:gd name="connsiteY2" fmla="*/ 457200 h 914400"/>
              <a:gd name="connsiteX3" fmla="*/ 18072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232 w 1828800"/>
              <a:gd name="connsiteY1" fmla="*/ 0 h 914400"/>
              <a:gd name="connsiteX2" fmla="*/ 1828800 w 1828800"/>
              <a:gd name="connsiteY2" fmla="*/ 457200 h 914400"/>
              <a:gd name="connsiteX3" fmla="*/ 1807232 w 1828800"/>
              <a:gd name="connsiteY3" fmla="*/ 914400 h 914400"/>
              <a:gd name="connsiteX4" fmla="*/ 0 w 1828800"/>
              <a:gd name="connsiteY4" fmla="*/ 914400 h 914400"/>
              <a:gd name="connsiteX5" fmla="*/ 23526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7232 w 1828800"/>
              <a:gd name="connsiteY3" fmla="*/ 914400 h 914400"/>
              <a:gd name="connsiteX4" fmla="*/ 0 w 1828800"/>
              <a:gd name="connsiteY4" fmla="*/ 914400 h 914400"/>
              <a:gd name="connsiteX5" fmla="*/ 23526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5274 w 1828800"/>
              <a:gd name="connsiteY3" fmla="*/ 914400 h 914400"/>
              <a:gd name="connsiteX4" fmla="*/ 0 w 1828800"/>
              <a:gd name="connsiteY4" fmla="*/ 914400 h 914400"/>
              <a:gd name="connsiteX5" fmla="*/ 23526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52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52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52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05274" y="0"/>
                </a:lnTo>
                <a:lnTo>
                  <a:pt x="1828800" y="457200"/>
                </a:lnTo>
                <a:lnTo>
                  <a:pt x="1805274" y="914400"/>
                </a:lnTo>
                <a:lnTo>
                  <a:pt x="0" y="914400"/>
                </a:lnTo>
                <a:lnTo>
                  <a:pt x="0" y="457203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Freeform 85">
            <a:extLst>
              <a:ext uri="{FF2B5EF4-FFF2-40B4-BE49-F238E27FC236}">
                <a16:creationId xmlns:a16="http://schemas.microsoft.com/office/drawing/2014/main" id="{071E0C9A-DBF8-4933-A555-8DFEEE10A5B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962385" y="2026060"/>
            <a:ext cx="2592000" cy="141007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3399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3399 w 1828800"/>
              <a:gd name="connsiteY1" fmla="*/ 0 h 914400"/>
              <a:gd name="connsiteX2" fmla="*/ 1828800 w 1828800"/>
              <a:gd name="connsiteY2" fmla="*/ 457200 h 914400"/>
              <a:gd name="connsiteX3" fmla="*/ 181339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3399 w 1828800"/>
              <a:gd name="connsiteY1" fmla="*/ 0 h 914400"/>
              <a:gd name="connsiteX2" fmla="*/ 1828800 w 1828800"/>
              <a:gd name="connsiteY2" fmla="*/ 457200 h 914400"/>
              <a:gd name="connsiteX3" fmla="*/ 1813399 w 1828800"/>
              <a:gd name="connsiteY3" fmla="*/ 914400 h 914400"/>
              <a:gd name="connsiteX4" fmla="*/ 0 w 1828800"/>
              <a:gd name="connsiteY4" fmla="*/ 914400 h 914400"/>
              <a:gd name="connsiteX5" fmla="*/ 14826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399 w 1828800"/>
              <a:gd name="connsiteY3" fmla="*/ 914400 h 914400"/>
              <a:gd name="connsiteX4" fmla="*/ 0 w 1828800"/>
              <a:gd name="connsiteY4" fmla="*/ 914400 h 914400"/>
              <a:gd name="connsiteX5" fmla="*/ 14826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974 w 1828800"/>
              <a:gd name="connsiteY3" fmla="*/ 914400 h 914400"/>
              <a:gd name="connsiteX4" fmla="*/ 0 w 1828800"/>
              <a:gd name="connsiteY4" fmla="*/ 914400 h 914400"/>
              <a:gd name="connsiteX5" fmla="*/ 14826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9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9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9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13974" y="0"/>
                </a:lnTo>
                <a:lnTo>
                  <a:pt x="1828800" y="457200"/>
                </a:lnTo>
                <a:lnTo>
                  <a:pt x="1813974" y="914400"/>
                </a:lnTo>
                <a:lnTo>
                  <a:pt x="0" y="914400"/>
                </a:lnTo>
                <a:lnTo>
                  <a:pt x="0" y="457203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lowchart: Decision 42">
            <a:extLst>
              <a:ext uri="{FF2B5EF4-FFF2-40B4-BE49-F238E27FC236}">
                <a16:creationId xmlns:a16="http://schemas.microsoft.com/office/drawing/2014/main" id="{5A95DC07-91E3-4F26-9FB8-0ECB29943849}"/>
              </a:ext>
            </a:extLst>
          </p:cNvPr>
          <p:cNvSpPr>
            <a:spLocks/>
          </p:cNvSpPr>
          <p:nvPr/>
        </p:nvSpPr>
        <p:spPr bwMode="gray">
          <a:xfrm>
            <a:off x="4478312" y="2024151"/>
            <a:ext cx="144000" cy="144000"/>
          </a:xfrm>
          <a:prstGeom prst="flowChartDecision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09F4EE4-E6DC-4B8A-9B33-74703C3CB86C}"/>
              </a:ext>
            </a:extLst>
          </p:cNvPr>
          <p:cNvSpPr txBox="1">
            <a:spLocks/>
          </p:cNvSpPr>
          <p:nvPr/>
        </p:nvSpPr>
        <p:spPr bwMode="gray">
          <a:xfrm>
            <a:off x="3487014" y="2524833"/>
            <a:ext cx="890007" cy="488201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Kontakt-aufnahme </a:t>
            </a:r>
          </a:p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TF "XX"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422DF65-929A-46AC-A195-E796711E25DD}"/>
              </a:ext>
            </a:extLst>
          </p:cNvPr>
          <p:cNvSpPr txBox="1">
            <a:spLocks/>
          </p:cNvSpPr>
          <p:nvPr/>
        </p:nvSpPr>
        <p:spPr bwMode="gray">
          <a:xfrm>
            <a:off x="4635840" y="1930474"/>
            <a:ext cx="785707" cy="34970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671496" eaLnBrk="1" hangingPunct="1">
              <a:buClr>
                <a:schemeClr val="tx2"/>
              </a:buClr>
              <a:defRPr sz="10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Abschluss der IST-Analyse</a:t>
            </a:r>
          </a:p>
        </p:txBody>
      </p:sp>
      <p:sp>
        <p:nvSpPr>
          <p:cNvPr id="85" name="Flowchart: Decision 84">
            <a:extLst>
              <a:ext uri="{FF2B5EF4-FFF2-40B4-BE49-F238E27FC236}">
                <a16:creationId xmlns:a16="http://schemas.microsoft.com/office/drawing/2014/main" id="{4EDFC954-7898-4FEC-85A2-D2842852FD77}"/>
              </a:ext>
            </a:extLst>
          </p:cNvPr>
          <p:cNvSpPr>
            <a:spLocks/>
          </p:cNvSpPr>
          <p:nvPr/>
        </p:nvSpPr>
        <p:spPr bwMode="gray">
          <a:xfrm>
            <a:off x="4063352" y="1330531"/>
            <a:ext cx="144000" cy="144000"/>
          </a:xfrm>
          <a:prstGeom prst="flowChartDecision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9382212-A0EA-46B1-986D-D303866C7665}"/>
              </a:ext>
            </a:extLst>
          </p:cNvPr>
          <p:cNvSpPr txBox="1">
            <a:spLocks/>
          </p:cNvSpPr>
          <p:nvPr/>
        </p:nvSpPr>
        <p:spPr bwMode="gray">
          <a:xfrm>
            <a:off x="4279819" y="1275146"/>
            <a:ext cx="885566" cy="3497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Besetzung </a:t>
            </a:r>
            <a:r>
              <a:rPr lang="de-DE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Rollen</a:t>
            </a:r>
            <a:endParaRPr lang="de-DE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7" name="Flowchart: Decision 86">
            <a:extLst>
              <a:ext uri="{FF2B5EF4-FFF2-40B4-BE49-F238E27FC236}">
                <a16:creationId xmlns:a16="http://schemas.microsoft.com/office/drawing/2014/main" id="{4871C24A-E038-40B9-ABBA-33AF793D5E89}"/>
              </a:ext>
            </a:extLst>
          </p:cNvPr>
          <p:cNvSpPr>
            <a:spLocks/>
          </p:cNvSpPr>
          <p:nvPr/>
        </p:nvSpPr>
        <p:spPr bwMode="gray">
          <a:xfrm>
            <a:off x="3268639" y="2664028"/>
            <a:ext cx="144000" cy="144000"/>
          </a:xfrm>
          <a:prstGeom prst="flowChartDecision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1B23FC6-1BFB-4BEC-B23C-18B1A66E3F7E}"/>
              </a:ext>
            </a:extLst>
          </p:cNvPr>
          <p:cNvSpPr txBox="1">
            <a:spLocks/>
          </p:cNvSpPr>
          <p:nvPr/>
        </p:nvSpPr>
        <p:spPr bwMode="gray">
          <a:xfrm>
            <a:off x="3491964" y="3234039"/>
            <a:ext cx="1051094" cy="34970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671496" eaLnBrk="1" hangingPunct="1">
              <a:buClr>
                <a:schemeClr val="tx2"/>
              </a:buClr>
              <a:defRPr sz="10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Identifikation von Schnittmengen</a:t>
            </a:r>
          </a:p>
        </p:txBody>
      </p:sp>
      <p:sp>
        <p:nvSpPr>
          <p:cNvPr id="89" name="Flowchart: Decision 88">
            <a:extLst>
              <a:ext uri="{FF2B5EF4-FFF2-40B4-BE49-F238E27FC236}">
                <a16:creationId xmlns:a16="http://schemas.microsoft.com/office/drawing/2014/main" id="{6A7FA93B-8E78-406C-993E-78269F911D4F}"/>
              </a:ext>
            </a:extLst>
          </p:cNvPr>
          <p:cNvSpPr>
            <a:spLocks/>
          </p:cNvSpPr>
          <p:nvPr/>
        </p:nvSpPr>
        <p:spPr bwMode="gray">
          <a:xfrm>
            <a:off x="3268639" y="3301203"/>
            <a:ext cx="144000" cy="144000"/>
          </a:xfrm>
          <a:prstGeom prst="flowChartDecision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F04A1CC-3432-4796-9B0E-4E7B2F15022C}"/>
              </a:ext>
            </a:extLst>
          </p:cNvPr>
          <p:cNvSpPr txBox="1">
            <a:spLocks/>
          </p:cNvSpPr>
          <p:nvPr/>
        </p:nvSpPr>
        <p:spPr bwMode="gray">
          <a:xfrm>
            <a:off x="2629165" y="4495457"/>
            <a:ext cx="6087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</a:t>
            </a:r>
          </a:p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16" name="Body1 19">
            <a:extLst>
              <a:ext uri="{FF2B5EF4-FFF2-40B4-BE49-F238E27FC236}">
                <a16:creationId xmlns:a16="http://schemas.microsoft.com/office/drawing/2014/main" id="{95134F82-7967-4175-8E72-15305641DA4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24198" y="4253234"/>
            <a:ext cx="343019" cy="138499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algn="ctr"/>
            <a:r>
              <a:rPr lang="de-DE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ut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AA7A1B1-2493-4821-8E31-3534CFB39CAB}"/>
              </a:ext>
            </a:extLst>
          </p:cNvPr>
          <p:cNvSpPr txBox="1">
            <a:spLocks/>
          </p:cNvSpPr>
          <p:nvPr/>
        </p:nvSpPr>
        <p:spPr bwMode="gray">
          <a:xfrm>
            <a:off x="980849" y="3276566"/>
            <a:ext cx="96225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netzung mit Themenfeld XX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C11BDB63-A959-4CE4-A97D-B569E2AF1386}"/>
              </a:ext>
            </a:extLst>
          </p:cNvPr>
          <p:cNvGrpSpPr/>
          <p:nvPr/>
        </p:nvGrpSpPr>
        <p:grpSpPr bwMode="gray">
          <a:xfrm>
            <a:off x="570681" y="3232485"/>
            <a:ext cx="270461" cy="365161"/>
            <a:chOff x="578833" y="956441"/>
            <a:chExt cx="564760" cy="677483"/>
          </a:xfrm>
          <a:solidFill>
            <a:schemeClr val="accent4"/>
          </a:solidFill>
        </p:grpSpPr>
        <p:sp>
          <p:nvSpPr>
            <p:cNvPr id="114" name="Freeform 56">
              <a:extLst>
                <a:ext uri="{FF2B5EF4-FFF2-40B4-BE49-F238E27FC236}">
                  <a16:creationId xmlns:a16="http://schemas.microsoft.com/office/drawing/2014/main" id="{F7CC8813-1D71-4E86-9641-CC369D3A552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7698" y="956441"/>
              <a:ext cx="335895" cy="339311"/>
            </a:xfrm>
            <a:custGeom>
              <a:avLst/>
              <a:gdLst>
                <a:gd name="T0" fmla="*/ 40 w 125"/>
                <a:gd name="T1" fmla="*/ 32 h 126"/>
                <a:gd name="T2" fmla="*/ 45 w 125"/>
                <a:gd name="T3" fmla="*/ 44 h 126"/>
                <a:gd name="T4" fmla="*/ 49 w 125"/>
                <a:gd name="T5" fmla="*/ 48 h 126"/>
                <a:gd name="T6" fmla="*/ 32 w 125"/>
                <a:gd name="T7" fmla="*/ 72 h 126"/>
                <a:gd name="T8" fmla="*/ 24 w 125"/>
                <a:gd name="T9" fmla="*/ 33 h 126"/>
                <a:gd name="T10" fmla="*/ 29 w 125"/>
                <a:gd name="T11" fmla="*/ 28 h 126"/>
                <a:gd name="T12" fmla="*/ 29 w 125"/>
                <a:gd name="T13" fmla="*/ 5 h 126"/>
                <a:gd name="T14" fmla="*/ 5 w 125"/>
                <a:gd name="T15" fmla="*/ 5 h 126"/>
                <a:gd name="T16" fmla="*/ 5 w 125"/>
                <a:gd name="T17" fmla="*/ 28 h 126"/>
                <a:gd name="T18" fmla="*/ 10 w 125"/>
                <a:gd name="T19" fmla="*/ 32 h 126"/>
                <a:gd name="T20" fmla="*/ 10 w 125"/>
                <a:gd name="T21" fmla="*/ 51 h 126"/>
                <a:gd name="T22" fmla="*/ 23 w 125"/>
                <a:gd name="T23" fmla="*/ 83 h 126"/>
                <a:gd name="T24" fmla="*/ 49 w 125"/>
                <a:gd name="T25" fmla="*/ 120 h 126"/>
                <a:gd name="T26" fmla="*/ 62 w 125"/>
                <a:gd name="T27" fmla="*/ 126 h 126"/>
                <a:gd name="T28" fmla="*/ 63 w 125"/>
                <a:gd name="T29" fmla="*/ 121 h 126"/>
                <a:gd name="T30" fmla="*/ 93 w 125"/>
                <a:gd name="T31" fmla="*/ 117 h 126"/>
                <a:gd name="T32" fmla="*/ 97 w 125"/>
                <a:gd name="T33" fmla="*/ 122 h 126"/>
                <a:gd name="T34" fmla="*/ 101 w 125"/>
                <a:gd name="T35" fmla="*/ 126 h 126"/>
                <a:gd name="T36" fmla="*/ 120 w 125"/>
                <a:gd name="T37" fmla="*/ 123 h 126"/>
                <a:gd name="T38" fmla="*/ 121 w 125"/>
                <a:gd name="T39" fmla="*/ 122 h 126"/>
                <a:gd name="T40" fmla="*/ 121 w 125"/>
                <a:gd name="T41" fmla="*/ 98 h 126"/>
                <a:gd name="T42" fmla="*/ 109 w 125"/>
                <a:gd name="T43" fmla="*/ 94 h 126"/>
                <a:gd name="T44" fmla="*/ 97 w 125"/>
                <a:gd name="T45" fmla="*/ 98 h 126"/>
                <a:gd name="T46" fmla="*/ 93 w 125"/>
                <a:gd name="T47" fmla="*/ 103 h 126"/>
                <a:gd name="T48" fmla="*/ 63 w 125"/>
                <a:gd name="T49" fmla="*/ 48 h 126"/>
                <a:gd name="T50" fmla="*/ 68 w 125"/>
                <a:gd name="T51" fmla="*/ 44 h 126"/>
                <a:gd name="T52" fmla="*/ 68 w 125"/>
                <a:gd name="T53" fmla="*/ 20 h 126"/>
                <a:gd name="T54" fmla="*/ 45 w 125"/>
                <a:gd name="T55" fmla="*/ 20 h 126"/>
                <a:gd name="T56" fmla="*/ 23 w 125"/>
                <a:gd name="T57" fmla="*/ 10 h 126"/>
                <a:gd name="T58" fmla="*/ 23 w 125"/>
                <a:gd name="T59" fmla="*/ 23 h 126"/>
                <a:gd name="T60" fmla="*/ 11 w 125"/>
                <a:gd name="T61" fmla="*/ 23 h 126"/>
                <a:gd name="T62" fmla="*/ 11 w 125"/>
                <a:gd name="T63" fmla="*/ 10 h 126"/>
                <a:gd name="T64" fmla="*/ 23 w 125"/>
                <a:gd name="T65" fmla="*/ 10 h 126"/>
                <a:gd name="T66" fmla="*/ 50 w 125"/>
                <a:gd name="T67" fmla="*/ 26 h 126"/>
                <a:gd name="T68" fmla="*/ 63 w 125"/>
                <a:gd name="T69" fmla="*/ 26 h 126"/>
                <a:gd name="T70" fmla="*/ 65 w 125"/>
                <a:gd name="T71" fmla="*/ 32 h 126"/>
                <a:gd name="T72" fmla="*/ 56 w 125"/>
                <a:gd name="T73" fmla="*/ 41 h 126"/>
                <a:gd name="T74" fmla="*/ 48 w 125"/>
                <a:gd name="T75" fmla="*/ 32 h 126"/>
                <a:gd name="T76" fmla="*/ 103 w 125"/>
                <a:gd name="T77" fmla="*/ 104 h 126"/>
                <a:gd name="T78" fmla="*/ 115 w 125"/>
                <a:gd name="T79" fmla="*/ 104 h 126"/>
                <a:gd name="T80" fmla="*/ 115 w 125"/>
                <a:gd name="T81" fmla="*/ 104 h 126"/>
                <a:gd name="T82" fmla="*/ 117 w 125"/>
                <a:gd name="T83" fmla="*/ 110 h 126"/>
                <a:gd name="T84" fmla="*/ 115 w 125"/>
                <a:gd name="T85" fmla="*/ 117 h 126"/>
                <a:gd name="T86" fmla="*/ 103 w 125"/>
                <a:gd name="T87" fmla="*/ 117 h 126"/>
                <a:gd name="T88" fmla="*/ 100 w 125"/>
                <a:gd name="T89" fmla="*/ 110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5" h="126">
                  <a:moveTo>
                    <a:pt x="45" y="20"/>
                  </a:moveTo>
                  <a:cubicBezTo>
                    <a:pt x="41" y="24"/>
                    <a:pt x="40" y="28"/>
                    <a:pt x="40" y="32"/>
                  </a:cubicBezTo>
                  <a:cubicBezTo>
                    <a:pt x="40" y="37"/>
                    <a:pt x="41" y="41"/>
                    <a:pt x="44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6" y="46"/>
                    <a:pt x="47" y="47"/>
                    <a:pt x="49" y="48"/>
                  </a:cubicBezTo>
                  <a:cubicBezTo>
                    <a:pt x="49" y="48"/>
                    <a:pt x="49" y="48"/>
                    <a:pt x="49" y="4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2" y="77"/>
                    <a:pt x="36" y="76"/>
                    <a:pt x="32" y="72"/>
                  </a:cubicBezTo>
                  <a:cubicBezTo>
                    <a:pt x="27" y="68"/>
                    <a:pt x="24" y="60"/>
                    <a:pt x="24" y="50"/>
                  </a:cubicBezTo>
                  <a:cubicBezTo>
                    <a:pt x="24" y="33"/>
                    <a:pt x="24" y="33"/>
                    <a:pt x="24" y="33"/>
                  </a:cubicBezTo>
                  <a:cubicBezTo>
                    <a:pt x="24" y="32"/>
                    <a:pt x="24" y="32"/>
                    <a:pt x="24" y="32"/>
                  </a:cubicBezTo>
                  <a:cubicBezTo>
                    <a:pt x="26" y="31"/>
                    <a:pt x="27" y="30"/>
                    <a:pt x="29" y="28"/>
                  </a:cubicBezTo>
                  <a:cubicBezTo>
                    <a:pt x="32" y="25"/>
                    <a:pt x="34" y="21"/>
                    <a:pt x="34" y="17"/>
                  </a:cubicBezTo>
                  <a:cubicBezTo>
                    <a:pt x="34" y="12"/>
                    <a:pt x="32" y="8"/>
                    <a:pt x="29" y="5"/>
                  </a:cubicBezTo>
                  <a:cubicBezTo>
                    <a:pt x="25" y="1"/>
                    <a:pt x="21" y="0"/>
                    <a:pt x="17" y="0"/>
                  </a:cubicBezTo>
                  <a:cubicBezTo>
                    <a:pt x="12" y="0"/>
                    <a:pt x="8" y="1"/>
                    <a:pt x="5" y="5"/>
                  </a:cubicBezTo>
                  <a:cubicBezTo>
                    <a:pt x="2" y="8"/>
                    <a:pt x="0" y="12"/>
                    <a:pt x="0" y="17"/>
                  </a:cubicBezTo>
                  <a:cubicBezTo>
                    <a:pt x="0" y="21"/>
                    <a:pt x="2" y="25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30"/>
                    <a:pt x="8" y="31"/>
                    <a:pt x="10" y="32"/>
                  </a:cubicBezTo>
                  <a:cubicBezTo>
                    <a:pt x="10" y="32"/>
                    <a:pt x="10" y="32"/>
                    <a:pt x="10" y="33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1" y="66"/>
                    <a:pt x="15" y="76"/>
                    <a:pt x="23" y="83"/>
                  </a:cubicBezTo>
                  <a:cubicBezTo>
                    <a:pt x="29" y="89"/>
                    <a:pt x="38" y="92"/>
                    <a:pt x="49" y="92"/>
                  </a:cubicBezTo>
                  <a:cubicBezTo>
                    <a:pt x="49" y="120"/>
                    <a:pt x="49" y="120"/>
                    <a:pt x="49" y="120"/>
                  </a:cubicBezTo>
                  <a:cubicBezTo>
                    <a:pt x="49" y="122"/>
                    <a:pt x="48" y="124"/>
                    <a:pt x="48" y="126"/>
                  </a:cubicBezTo>
                  <a:cubicBezTo>
                    <a:pt x="62" y="126"/>
                    <a:pt x="62" y="126"/>
                    <a:pt x="62" y="126"/>
                  </a:cubicBezTo>
                  <a:cubicBezTo>
                    <a:pt x="63" y="124"/>
                    <a:pt x="63" y="123"/>
                    <a:pt x="63" y="121"/>
                  </a:cubicBezTo>
                  <a:cubicBezTo>
                    <a:pt x="63" y="121"/>
                    <a:pt x="63" y="121"/>
                    <a:pt x="63" y="121"/>
                  </a:cubicBezTo>
                  <a:cubicBezTo>
                    <a:pt x="63" y="117"/>
                    <a:pt x="63" y="117"/>
                    <a:pt x="63" y="117"/>
                  </a:cubicBezTo>
                  <a:cubicBezTo>
                    <a:pt x="93" y="117"/>
                    <a:pt x="93" y="117"/>
                    <a:pt x="93" y="117"/>
                  </a:cubicBezTo>
                  <a:cubicBezTo>
                    <a:pt x="93" y="117"/>
                    <a:pt x="93" y="117"/>
                    <a:pt x="93" y="117"/>
                  </a:cubicBezTo>
                  <a:cubicBezTo>
                    <a:pt x="94" y="119"/>
                    <a:pt x="95" y="121"/>
                    <a:pt x="97" y="122"/>
                  </a:cubicBezTo>
                  <a:cubicBezTo>
                    <a:pt x="97" y="122"/>
                    <a:pt x="97" y="122"/>
                    <a:pt x="97" y="122"/>
                  </a:cubicBezTo>
                  <a:cubicBezTo>
                    <a:pt x="98" y="124"/>
                    <a:pt x="100" y="125"/>
                    <a:pt x="101" y="126"/>
                  </a:cubicBezTo>
                  <a:cubicBezTo>
                    <a:pt x="116" y="126"/>
                    <a:pt x="116" y="126"/>
                    <a:pt x="116" y="126"/>
                  </a:cubicBezTo>
                  <a:cubicBezTo>
                    <a:pt x="117" y="125"/>
                    <a:pt x="119" y="124"/>
                    <a:pt x="120" y="123"/>
                  </a:cubicBezTo>
                  <a:cubicBezTo>
                    <a:pt x="120" y="122"/>
                    <a:pt x="120" y="122"/>
                    <a:pt x="120" y="122"/>
                  </a:cubicBezTo>
                  <a:cubicBezTo>
                    <a:pt x="121" y="122"/>
                    <a:pt x="121" y="122"/>
                    <a:pt x="121" y="122"/>
                  </a:cubicBezTo>
                  <a:cubicBezTo>
                    <a:pt x="124" y="119"/>
                    <a:pt x="125" y="115"/>
                    <a:pt x="125" y="110"/>
                  </a:cubicBezTo>
                  <a:cubicBezTo>
                    <a:pt x="125" y="106"/>
                    <a:pt x="124" y="102"/>
                    <a:pt x="121" y="98"/>
                  </a:cubicBezTo>
                  <a:cubicBezTo>
                    <a:pt x="120" y="98"/>
                    <a:pt x="120" y="98"/>
                    <a:pt x="120" y="98"/>
                  </a:cubicBezTo>
                  <a:cubicBezTo>
                    <a:pt x="117" y="95"/>
                    <a:pt x="113" y="94"/>
                    <a:pt x="109" y="94"/>
                  </a:cubicBezTo>
                  <a:cubicBezTo>
                    <a:pt x="107" y="94"/>
                    <a:pt x="105" y="94"/>
                    <a:pt x="103" y="95"/>
                  </a:cubicBezTo>
                  <a:cubicBezTo>
                    <a:pt x="101" y="95"/>
                    <a:pt x="99" y="97"/>
                    <a:pt x="97" y="98"/>
                  </a:cubicBezTo>
                  <a:cubicBezTo>
                    <a:pt x="95" y="100"/>
                    <a:pt x="94" y="102"/>
                    <a:pt x="93" y="103"/>
                  </a:cubicBezTo>
                  <a:cubicBezTo>
                    <a:pt x="93" y="103"/>
                    <a:pt x="93" y="103"/>
                    <a:pt x="93" y="103"/>
                  </a:cubicBezTo>
                  <a:cubicBezTo>
                    <a:pt x="63" y="103"/>
                    <a:pt x="63" y="103"/>
                    <a:pt x="63" y="103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3" y="48"/>
                    <a:pt x="63" y="48"/>
                    <a:pt x="63" y="48"/>
                  </a:cubicBezTo>
                  <a:cubicBezTo>
                    <a:pt x="65" y="47"/>
                    <a:pt x="67" y="46"/>
                    <a:pt x="68" y="44"/>
                  </a:cubicBezTo>
                  <a:cubicBezTo>
                    <a:pt x="71" y="41"/>
                    <a:pt x="73" y="37"/>
                    <a:pt x="73" y="32"/>
                  </a:cubicBezTo>
                  <a:cubicBezTo>
                    <a:pt x="73" y="28"/>
                    <a:pt x="71" y="24"/>
                    <a:pt x="68" y="20"/>
                  </a:cubicBezTo>
                  <a:cubicBezTo>
                    <a:pt x="65" y="17"/>
                    <a:pt x="61" y="16"/>
                    <a:pt x="56" y="16"/>
                  </a:cubicBezTo>
                  <a:cubicBezTo>
                    <a:pt x="52" y="16"/>
                    <a:pt x="48" y="17"/>
                    <a:pt x="45" y="20"/>
                  </a:cubicBezTo>
                  <a:close/>
                  <a:moveTo>
                    <a:pt x="23" y="10"/>
                  </a:moveTo>
                  <a:cubicBezTo>
                    <a:pt x="23" y="10"/>
                    <a:pt x="23" y="10"/>
                    <a:pt x="23" y="10"/>
                  </a:cubicBezTo>
                  <a:cubicBezTo>
                    <a:pt x="25" y="12"/>
                    <a:pt x="26" y="14"/>
                    <a:pt x="26" y="17"/>
                  </a:cubicBezTo>
                  <a:cubicBezTo>
                    <a:pt x="26" y="19"/>
                    <a:pt x="25" y="21"/>
                    <a:pt x="23" y="23"/>
                  </a:cubicBezTo>
                  <a:cubicBezTo>
                    <a:pt x="21" y="25"/>
                    <a:pt x="19" y="25"/>
                    <a:pt x="17" y="25"/>
                  </a:cubicBezTo>
                  <a:cubicBezTo>
                    <a:pt x="14" y="25"/>
                    <a:pt x="12" y="25"/>
                    <a:pt x="11" y="23"/>
                  </a:cubicBezTo>
                  <a:cubicBezTo>
                    <a:pt x="9" y="21"/>
                    <a:pt x="8" y="19"/>
                    <a:pt x="8" y="17"/>
                  </a:cubicBezTo>
                  <a:cubicBezTo>
                    <a:pt x="8" y="14"/>
                    <a:pt x="9" y="12"/>
                    <a:pt x="11" y="10"/>
                  </a:cubicBezTo>
                  <a:cubicBezTo>
                    <a:pt x="12" y="9"/>
                    <a:pt x="14" y="8"/>
                    <a:pt x="17" y="8"/>
                  </a:cubicBezTo>
                  <a:cubicBezTo>
                    <a:pt x="19" y="8"/>
                    <a:pt x="21" y="9"/>
                    <a:pt x="23" y="10"/>
                  </a:cubicBezTo>
                  <a:close/>
                  <a:moveTo>
                    <a:pt x="48" y="32"/>
                  </a:moveTo>
                  <a:cubicBezTo>
                    <a:pt x="48" y="30"/>
                    <a:pt x="48" y="28"/>
                    <a:pt x="50" y="26"/>
                  </a:cubicBezTo>
                  <a:cubicBezTo>
                    <a:pt x="52" y="24"/>
                    <a:pt x="54" y="24"/>
                    <a:pt x="56" y="24"/>
                  </a:cubicBezTo>
                  <a:cubicBezTo>
                    <a:pt x="59" y="24"/>
                    <a:pt x="61" y="24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4" y="28"/>
                    <a:pt x="65" y="30"/>
                    <a:pt x="65" y="32"/>
                  </a:cubicBezTo>
                  <a:cubicBezTo>
                    <a:pt x="65" y="35"/>
                    <a:pt x="64" y="37"/>
                    <a:pt x="63" y="39"/>
                  </a:cubicBezTo>
                  <a:cubicBezTo>
                    <a:pt x="61" y="40"/>
                    <a:pt x="59" y="41"/>
                    <a:pt x="56" y="41"/>
                  </a:cubicBezTo>
                  <a:cubicBezTo>
                    <a:pt x="54" y="41"/>
                    <a:pt x="52" y="40"/>
                    <a:pt x="50" y="39"/>
                  </a:cubicBezTo>
                  <a:cubicBezTo>
                    <a:pt x="48" y="37"/>
                    <a:pt x="48" y="35"/>
                    <a:pt x="48" y="32"/>
                  </a:cubicBezTo>
                  <a:close/>
                  <a:moveTo>
                    <a:pt x="102" y="104"/>
                  </a:moveTo>
                  <a:cubicBezTo>
                    <a:pt x="103" y="104"/>
                    <a:pt x="103" y="104"/>
                    <a:pt x="103" y="104"/>
                  </a:cubicBezTo>
                  <a:cubicBezTo>
                    <a:pt x="104" y="102"/>
                    <a:pt x="106" y="102"/>
                    <a:pt x="109" y="102"/>
                  </a:cubicBezTo>
                  <a:cubicBezTo>
                    <a:pt x="111" y="102"/>
                    <a:pt x="113" y="102"/>
                    <a:pt x="115" y="104"/>
                  </a:cubicBezTo>
                  <a:cubicBezTo>
                    <a:pt x="115" y="104"/>
                    <a:pt x="115" y="104"/>
                    <a:pt x="115" y="104"/>
                  </a:cubicBezTo>
                  <a:cubicBezTo>
                    <a:pt x="115" y="104"/>
                    <a:pt x="115" y="104"/>
                    <a:pt x="115" y="104"/>
                  </a:cubicBezTo>
                  <a:cubicBezTo>
                    <a:pt x="115" y="104"/>
                    <a:pt x="115" y="104"/>
                    <a:pt x="115" y="104"/>
                  </a:cubicBezTo>
                  <a:cubicBezTo>
                    <a:pt x="117" y="106"/>
                    <a:pt x="117" y="108"/>
                    <a:pt x="117" y="110"/>
                  </a:cubicBezTo>
                  <a:cubicBezTo>
                    <a:pt x="117" y="113"/>
                    <a:pt x="117" y="115"/>
                    <a:pt x="115" y="117"/>
                  </a:cubicBezTo>
                  <a:cubicBezTo>
                    <a:pt x="115" y="117"/>
                    <a:pt x="115" y="117"/>
                    <a:pt x="115" y="117"/>
                  </a:cubicBezTo>
                  <a:cubicBezTo>
                    <a:pt x="113" y="118"/>
                    <a:pt x="111" y="119"/>
                    <a:pt x="109" y="119"/>
                  </a:cubicBezTo>
                  <a:cubicBezTo>
                    <a:pt x="106" y="119"/>
                    <a:pt x="105" y="119"/>
                    <a:pt x="103" y="117"/>
                  </a:cubicBezTo>
                  <a:cubicBezTo>
                    <a:pt x="103" y="117"/>
                    <a:pt x="103" y="117"/>
                    <a:pt x="102" y="117"/>
                  </a:cubicBezTo>
                  <a:cubicBezTo>
                    <a:pt x="101" y="115"/>
                    <a:pt x="100" y="113"/>
                    <a:pt x="100" y="110"/>
                  </a:cubicBezTo>
                  <a:cubicBezTo>
                    <a:pt x="100" y="108"/>
                    <a:pt x="101" y="106"/>
                    <a:pt x="102" y="1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1" name="Freeform 57">
              <a:extLst>
                <a:ext uri="{FF2B5EF4-FFF2-40B4-BE49-F238E27FC236}">
                  <a16:creationId xmlns:a16="http://schemas.microsoft.com/office/drawing/2014/main" id="{4DC9B758-7BE3-4936-86FB-C90AC0D94CE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7698" y="1214909"/>
              <a:ext cx="91090" cy="80843"/>
            </a:xfrm>
            <a:custGeom>
              <a:avLst/>
              <a:gdLst>
                <a:gd name="T0" fmla="*/ 29 w 34"/>
                <a:gd name="T1" fmla="*/ 28 h 30"/>
                <a:gd name="T2" fmla="*/ 34 w 34"/>
                <a:gd name="T3" fmla="*/ 17 h 30"/>
                <a:gd name="T4" fmla="*/ 29 w 34"/>
                <a:gd name="T5" fmla="*/ 5 h 30"/>
                <a:gd name="T6" fmla="*/ 17 w 34"/>
                <a:gd name="T7" fmla="*/ 0 h 30"/>
                <a:gd name="T8" fmla="*/ 5 w 34"/>
                <a:gd name="T9" fmla="*/ 5 h 30"/>
                <a:gd name="T10" fmla="*/ 0 w 34"/>
                <a:gd name="T11" fmla="*/ 17 h 30"/>
                <a:gd name="T12" fmla="*/ 5 w 34"/>
                <a:gd name="T13" fmla="*/ 28 h 30"/>
                <a:gd name="T14" fmla="*/ 5 w 34"/>
                <a:gd name="T15" fmla="*/ 29 h 30"/>
                <a:gd name="T16" fmla="*/ 7 w 34"/>
                <a:gd name="T17" fmla="*/ 30 h 30"/>
                <a:gd name="T18" fmla="*/ 28 w 34"/>
                <a:gd name="T19" fmla="*/ 30 h 30"/>
                <a:gd name="T20" fmla="*/ 29 w 34"/>
                <a:gd name="T21" fmla="*/ 28 h 30"/>
                <a:gd name="T22" fmla="*/ 23 w 34"/>
                <a:gd name="T23" fmla="*/ 10 h 30"/>
                <a:gd name="T24" fmla="*/ 24 w 34"/>
                <a:gd name="T25" fmla="*/ 10 h 30"/>
                <a:gd name="T26" fmla="*/ 26 w 34"/>
                <a:gd name="T27" fmla="*/ 17 h 30"/>
                <a:gd name="T28" fmla="*/ 24 w 34"/>
                <a:gd name="T29" fmla="*/ 23 h 30"/>
                <a:gd name="T30" fmla="*/ 17 w 34"/>
                <a:gd name="T31" fmla="*/ 25 h 30"/>
                <a:gd name="T32" fmla="*/ 11 w 34"/>
                <a:gd name="T33" fmla="*/ 23 h 30"/>
                <a:gd name="T34" fmla="*/ 8 w 34"/>
                <a:gd name="T35" fmla="*/ 17 h 30"/>
                <a:gd name="T36" fmla="*/ 11 w 34"/>
                <a:gd name="T37" fmla="*/ 10 h 30"/>
                <a:gd name="T38" fmla="*/ 17 w 34"/>
                <a:gd name="T39" fmla="*/ 8 h 30"/>
                <a:gd name="T40" fmla="*/ 23 w 34"/>
                <a:gd name="T41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4" h="30">
                  <a:moveTo>
                    <a:pt x="29" y="28"/>
                  </a:moveTo>
                  <a:cubicBezTo>
                    <a:pt x="32" y="25"/>
                    <a:pt x="34" y="21"/>
                    <a:pt x="34" y="17"/>
                  </a:cubicBezTo>
                  <a:cubicBezTo>
                    <a:pt x="34" y="12"/>
                    <a:pt x="32" y="8"/>
                    <a:pt x="29" y="5"/>
                  </a:cubicBezTo>
                  <a:cubicBezTo>
                    <a:pt x="26" y="1"/>
                    <a:pt x="22" y="0"/>
                    <a:pt x="17" y="0"/>
                  </a:cubicBezTo>
                  <a:cubicBezTo>
                    <a:pt x="13" y="0"/>
                    <a:pt x="9" y="1"/>
                    <a:pt x="5" y="5"/>
                  </a:cubicBezTo>
                  <a:cubicBezTo>
                    <a:pt x="2" y="8"/>
                    <a:pt x="0" y="12"/>
                    <a:pt x="0" y="17"/>
                  </a:cubicBezTo>
                  <a:cubicBezTo>
                    <a:pt x="0" y="21"/>
                    <a:pt x="2" y="25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6" y="29"/>
                    <a:pt x="6" y="29"/>
                    <a:pt x="7" y="30"/>
                  </a:cubicBezTo>
                  <a:cubicBezTo>
                    <a:pt x="28" y="30"/>
                    <a:pt x="28" y="30"/>
                    <a:pt x="28" y="30"/>
                  </a:cubicBezTo>
                  <a:cubicBezTo>
                    <a:pt x="28" y="29"/>
                    <a:pt x="29" y="29"/>
                    <a:pt x="29" y="28"/>
                  </a:cubicBezTo>
                  <a:close/>
                  <a:moveTo>
                    <a:pt x="23" y="10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5" y="12"/>
                    <a:pt x="26" y="14"/>
                    <a:pt x="26" y="17"/>
                  </a:cubicBezTo>
                  <a:cubicBezTo>
                    <a:pt x="26" y="19"/>
                    <a:pt x="25" y="21"/>
                    <a:pt x="24" y="23"/>
                  </a:cubicBezTo>
                  <a:cubicBezTo>
                    <a:pt x="22" y="25"/>
                    <a:pt x="20" y="25"/>
                    <a:pt x="17" y="25"/>
                  </a:cubicBezTo>
                  <a:cubicBezTo>
                    <a:pt x="15" y="25"/>
                    <a:pt x="13" y="25"/>
                    <a:pt x="11" y="23"/>
                  </a:cubicBezTo>
                  <a:cubicBezTo>
                    <a:pt x="9" y="21"/>
                    <a:pt x="8" y="19"/>
                    <a:pt x="8" y="17"/>
                  </a:cubicBezTo>
                  <a:cubicBezTo>
                    <a:pt x="8" y="14"/>
                    <a:pt x="9" y="12"/>
                    <a:pt x="11" y="10"/>
                  </a:cubicBezTo>
                  <a:cubicBezTo>
                    <a:pt x="13" y="9"/>
                    <a:pt x="15" y="8"/>
                    <a:pt x="17" y="8"/>
                  </a:cubicBezTo>
                  <a:cubicBezTo>
                    <a:pt x="20" y="8"/>
                    <a:pt x="22" y="9"/>
                    <a:pt x="2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6" name="Freeform 58">
              <a:extLst>
                <a:ext uri="{FF2B5EF4-FFF2-40B4-BE49-F238E27FC236}">
                  <a16:creationId xmlns:a16="http://schemas.microsoft.com/office/drawing/2014/main" id="{A9BEBEEF-6CFD-4A66-9598-E6DDE5144E5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8834" y="1115849"/>
              <a:ext cx="215201" cy="179904"/>
            </a:xfrm>
            <a:custGeom>
              <a:avLst/>
              <a:gdLst>
                <a:gd name="T0" fmla="*/ 17 w 80"/>
                <a:gd name="T1" fmla="*/ 60 h 67"/>
                <a:gd name="T2" fmla="*/ 23 w 80"/>
                <a:gd name="T3" fmla="*/ 63 h 67"/>
                <a:gd name="T4" fmla="*/ 23 w 80"/>
                <a:gd name="T5" fmla="*/ 63 h 67"/>
                <a:gd name="T6" fmla="*/ 25 w 80"/>
                <a:gd name="T7" fmla="*/ 67 h 67"/>
                <a:gd name="T8" fmla="*/ 70 w 80"/>
                <a:gd name="T9" fmla="*/ 67 h 67"/>
                <a:gd name="T10" fmla="*/ 70 w 80"/>
                <a:gd name="T11" fmla="*/ 32 h 67"/>
                <a:gd name="T12" fmla="*/ 75 w 80"/>
                <a:gd name="T13" fmla="*/ 29 h 67"/>
                <a:gd name="T14" fmla="*/ 80 w 80"/>
                <a:gd name="T15" fmla="*/ 17 h 67"/>
                <a:gd name="T16" fmla="*/ 75 w 80"/>
                <a:gd name="T17" fmla="*/ 5 h 67"/>
                <a:gd name="T18" fmla="*/ 67 w 80"/>
                <a:gd name="T19" fmla="*/ 0 h 67"/>
                <a:gd name="T20" fmla="*/ 63 w 80"/>
                <a:gd name="T21" fmla="*/ 0 h 67"/>
                <a:gd name="T22" fmla="*/ 51 w 80"/>
                <a:gd name="T23" fmla="*/ 5 h 67"/>
                <a:gd name="T24" fmla="*/ 46 w 80"/>
                <a:gd name="T25" fmla="*/ 17 h 67"/>
                <a:gd name="T26" fmla="*/ 51 w 80"/>
                <a:gd name="T27" fmla="*/ 29 h 67"/>
                <a:gd name="T28" fmla="*/ 51 w 80"/>
                <a:gd name="T29" fmla="*/ 29 h 67"/>
                <a:gd name="T30" fmla="*/ 56 w 80"/>
                <a:gd name="T31" fmla="*/ 32 h 67"/>
                <a:gd name="T32" fmla="*/ 56 w 80"/>
                <a:gd name="T33" fmla="*/ 33 h 67"/>
                <a:gd name="T34" fmla="*/ 56 w 80"/>
                <a:gd name="T35" fmla="*/ 62 h 67"/>
                <a:gd name="T36" fmla="*/ 33 w 80"/>
                <a:gd name="T37" fmla="*/ 62 h 67"/>
                <a:gd name="T38" fmla="*/ 32 w 80"/>
                <a:gd name="T39" fmla="*/ 62 h 67"/>
                <a:gd name="T40" fmla="*/ 29 w 80"/>
                <a:gd name="T41" fmla="*/ 57 h 67"/>
                <a:gd name="T42" fmla="*/ 17 w 80"/>
                <a:gd name="T43" fmla="*/ 52 h 67"/>
                <a:gd name="T44" fmla="*/ 5 w 80"/>
                <a:gd name="T45" fmla="*/ 57 h 67"/>
                <a:gd name="T46" fmla="*/ 0 w 80"/>
                <a:gd name="T47" fmla="*/ 67 h 67"/>
                <a:gd name="T48" fmla="*/ 8 w 80"/>
                <a:gd name="T49" fmla="*/ 67 h 67"/>
                <a:gd name="T50" fmla="*/ 10 w 80"/>
                <a:gd name="T51" fmla="*/ 63 h 67"/>
                <a:gd name="T52" fmla="*/ 17 w 80"/>
                <a:gd name="T53" fmla="*/ 60 h 67"/>
                <a:gd name="T54" fmla="*/ 63 w 80"/>
                <a:gd name="T55" fmla="*/ 8 h 67"/>
                <a:gd name="T56" fmla="*/ 67 w 80"/>
                <a:gd name="T57" fmla="*/ 9 h 67"/>
                <a:gd name="T58" fmla="*/ 69 w 80"/>
                <a:gd name="T59" fmla="*/ 10 h 67"/>
                <a:gd name="T60" fmla="*/ 70 w 80"/>
                <a:gd name="T61" fmla="*/ 11 h 67"/>
                <a:gd name="T62" fmla="*/ 72 w 80"/>
                <a:gd name="T63" fmla="*/ 17 h 67"/>
                <a:gd name="T64" fmla="*/ 70 w 80"/>
                <a:gd name="T65" fmla="*/ 23 h 67"/>
                <a:gd name="T66" fmla="*/ 67 w 80"/>
                <a:gd name="T67" fmla="*/ 25 h 67"/>
                <a:gd name="T68" fmla="*/ 63 w 80"/>
                <a:gd name="T69" fmla="*/ 26 h 67"/>
                <a:gd name="T70" fmla="*/ 63 w 80"/>
                <a:gd name="T71" fmla="*/ 26 h 67"/>
                <a:gd name="T72" fmla="*/ 57 w 80"/>
                <a:gd name="T73" fmla="*/ 23 h 67"/>
                <a:gd name="T74" fmla="*/ 54 w 80"/>
                <a:gd name="T75" fmla="*/ 17 h 67"/>
                <a:gd name="T76" fmla="*/ 57 w 80"/>
                <a:gd name="T77" fmla="*/ 10 h 67"/>
                <a:gd name="T78" fmla="*/ 63 w 80"/>
                <a:gd name="T79" fmla="*/ 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0" h="67">
                  <a:moveTo>
                    <a:pt x="17" y="60"/>
                  </a:moveTo>
                  <a:cubicBezTo>
                    <a:pt x="19" y="60"/>
                    <a:pt x="21" y="61"/>
                    <a:pt x="23" y="63"/>
                  </a:cubicBezTo>
                  <a:cubicBezTo>
                    <a:pt x="23" y="63"/>
                    <a:pt x="23" y="63"/>
                    <a:pt x="23" y="63"/>
                  </a:cubicBezTo>
                  <a:cubicBezTo>
                    <a:pt x="24" y="64"/>
                    <a:pt x="25" y="65"/>
                    <a:pt x="25" y="67"/>
                  </a:cubicBezTo>
                  <a:cubicBezTo>
                    <a:pt x="70" y="67"/>
                    <a:pt x="70" y="67"/>
                    <a:pt x="70" y="67"/>
                  </a:cubicBezTo>
                  <a:cubicBezTo>
                    <a:pt x="70" y="32"/>
                    <a:pt x="70" y="32"/>
                    <a:pt x="70" y="32"/>
                  </a:cubicBezTo>
                  <a:cubicBezTo>
                    <a:pt x="72" y="31"/>
                    <a:pt x="74" y="30"/>
                    <a:pt x="75" y="29"/>
                  </a:cubicBezTo>
                  <a:cubicBezTo>
                    <a:pt x="78" y="25"/>
                    <a:pt x="80" y="21"/>
                    <a:pt x="80" y="17"/>
                  </a:cubicBezTo>
                  <a:cubicBezTo>
                    <a:pt x="80" y="12"/>
                    <a:pt x="78" y="8"/>
                    <a:pt x="75" y="5"/>
                  </a:cubicBezTo>
                  <a:cubicBezTo>
                    <a:pt x="73" y="2"/>
                    <a:pt x="70" y="1"/>
                    <a:pt x="67" y="0"/>
                  </a:cubicBezTo>
                  <a:cubicBezTo>
                    <a:pt x="66" y="0"/>
                    <a:pt x="64" y="0"/>
                    <a:pt x="63" y="0"/>
                  </a:cubicBezTo>
                  <a:cubicBezTo>
                    <a:pt x="59" y="0"/>
                    <a:pt x="55" y="2"/>
                    <a:pt x="51" y="5"/>
                  </a:cubicBezTo>
                  <a:cubicBezTo>
                    <a:pt x="48" y="8"/>
                    <a:pt x="46" y="12"/>
                    <a:pt x="46" y="17"/>
                  </a:cubicBezTo>
                  <a:cubicBezTo>
                    <a:pt x="46" y="21"/>
                    <a:pt x="48" y="25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3" y="30"/>
                    <a:pt x="54" y="31"/>
                    <a:pt x="56" y="32"/>
                  </a:cubicBezTo>
                  <a:cubicBezTo>
                    <a:pt x="56" y="32"/>
                    <a:pt x="56" y="32"/>
                    <a:pt x="56" y="33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1" y="60"/>
                    <a:pt x="30" y="58"/>
                    <a:pt x="29" y="57"/>
                  </a:cubicBezTo>
                  <a:cubicBezTo>
                    <a:pt x="25" y="54"/>
                    <a:pt x="21" y="52"/>
                    <a:pt x="17" y="52"/>
                  </a:cubicBezTo>
                  <a:cubicBezTo>
                    <a:pt x="12" y="52"/>
                    <a:pt x="8" y="54"/>
                    <a:pt x="5" y="57"/>
                  </a:cubicBezTo>
                  <a:cubicBezTo>
                    <a:pt x="2" y="60"/>
                    <a:pt x="0" y="63"/>
                    <a:pt x="0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8" y="65"/>
                    <a:pt x="9" y="64"/>
                    <a:pt x="10" y="63"/>
                  </a:cubicBezTo>
                  <a:cubicBezTo>
                    <a:pt x="12" y="61"/>
                    <a:pt x="14" y="60"/>
                    <a:pt x="17" y="60"/>
                  </a:cubicBezTo>
                  <a:close/>
                  <a:moveTo>
                    <a:pt x="63" y="8"/>
                  </a:moveTo>
                  <a:cubicBezTo>
                    <a:pt x="65" y="8"/>
                    <a:pt x="66" y="8"/>
                    <a:pt x="67" y="9"/>
                  </a:cubicBezTo>
                  <a:cubicBezTo>
                    <a:pt x="68" y="9"/>
                    <a:pt x="69" y="10"/>
                    <a:pt x="69" y="10"/>
                  </a:cubicBezTo>
                  <a:cubicBezTo>
                    <a:pt x="70" y="11"/>
                    <a:pt x="70" y="11"/>
                    <a:pt x="70" y="11"/>
                  </a:cubicBezTo>
                  <a:cubicBezTo>
                    <a:pt x="71" y="12"/>
                    <a:pt x="72" y="14"/>
                    <a:pt x="72" y="17"/>
                  </a:cubicBezTo>
                  <a:cubicBezTo>
                    <a:pt x="72" y="19"/>
                    <a:pt x="71" y="21"/>
                    <a:pt x="70" y="23"/>
                  </a:cubicBezTo>
                  <a:cubicBezTo>
                    <a:pt x="69" y="24"/>
                    <a:pt x="68" y="24"/>
                    <a:pt x="67" y="25"/>
                  </a:cubicBezTo>
                  <a:cubicBezTo>
                    <a:pt x="66" y="25"/>
                    <a:pt x="65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1" y="25"/>
                    <a:pt x="59" y="25"/>
                    <a:pt x="57" y="23"/>
                  </a:cubicBezTo>
                  <a:cubicBezTo>
                    <a:pt x="55" y="21"/>
                    <a:pt x="54" y="19"/>
                    <a:pt x="54" y="17"/>
                  </a:cubicBezTo>
                  <a:cubicBezTo>
                    <a:pt x="54" y="14"/>
                    <a:pt x="55" y="12"/>
                    <a:pt x="57" y="10"/>
                  </a:cubicBezTo>
                  <a:cubicBezTo>
                    <a:pt x="59" y="9"/>
                    <a:pt x="61" y="8"/>
                    <a:pt x="63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7" name="Freeform 59">
              <a:extLst>
                <a:ext uri="{FF2B5EF4-FFF2-40B4-BE49-F238E27FC236}">
                  <a16:creationId xmlns:a16="http://schemas.microsoft.com/office/drawing/2014/main" id="{A4B20885-9FD7-4D65-A291-5BA49E778EC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78833" y="1295751"/>
              <a:ext cx="395103" cy="338173"/>
            </a:xfrm>
            <a:custGeom>
              <a:avLst/>
              <a:gdLst>
                <a:gd name="T0" fmla="*/ 95 w 147"/>
                <a:gd name="T1" fmla="*/ 2 h 125"/>
                <a:gd name="T2" fmla="*/ 95 w 147"/>
                <a:gd name="T3" fmla="*/ 28 h 125"/>
                <a:gd name="T4" fmla="*/ 95 w 147"/>
                <a:gd name="T5" fmla="*/ 47 h 125"/>
                <a:gd name="T6" fmla="*/ 75 w 147"/>
                <a:gd name="T7" fmla="*/ 38 h 125"/>
                <a:gd name="T8" fmla="*/ 70 w 147"/>
                <a:gd name="T9" fmla="*/ 0 h 125"/>
                <a:gd name="T10" fmla="*/ 25 w 147"/>
                <a:gd name="T11" fmla="*/ 2 h 125"/>
                <a:gd name="T12" fmla="*/ 17 w 147"/>
                <a:gd name="T13" fmla="*/ 11 h 125"/>
                <a:gd name="T14" fmla="*/ 8 w 147"/>
                <a:gd name="T15" fmla="*/ 2 h 125"/>
                <a:gd name="T16" fmla="*/ 0 w 147"/>
                <a:gd name="T17" fmla="*/ 0 h 125"/>
                <a:gd name="T18" fmla="*/ 5 w 147"/>
                <a:gd name="T19" fmla="*/ 14 h 125"/>
                <a:gd name="T20" fmla="*/ 17 w 147"/>
                <a:gd name="T21" fmla="*/ 19 h 125"/>
                <a:gd name="T22" fmla="*/ 32 w 147"/>
                <a:gd name="T23" fmla="*/ 9 h 125"/>
                <a:gd name="T24" fmla="*/ 56 w 147"/>
                <a:gd name="T25" fmla="*/ 9 h 125"/>
                <a:gd name="T26" fmla="*/ 56 w 147"/>
                <a:gd name="T27" fmla="*/ 21 h 125"/>
                <a:gd name="T28" fmla="*/ 75 w 147"/>
                <a:gd name="T29" fmla="*/ 57 h 125"/>
                <a:gd name="T30" fmla="*/ 95 w 147"/>
                <a:gd name="T31" fmla="*/ 94 h 125"/>
                <a:gd name="T32" fmla="*/ 85 w 147"/>
                <a:gd name="T33" fmla="*/ 109 h 125"/>
                <a:gd name="T34" fmla="*/ 90 w 147"/>
                <a:gd name="T35" fmla="*/ 121 h 125"/>
                <a:gd name="T36" fmla="*/ 114 w 147"/>
                <a:gd name="T37" fmla="*/ 120 h 125"/>
                <a:gd name="T38" fmla="*/ 114 w 147"/>
                <a:gd name="T39" fmla="*/ 97 h 125"/>
                <a:gd name="T40" fmla="*/ 109 w 147"/>
                <a:gd name="T41" fmla="*/ 36 h 125"/>
                <a:gd name="T42" fmla="*/ 134 w 147"/>
                <a:gd name="T43" fmla="*/ 27 h 125"/>
                <a:gd name="T44" fmla="*/ 147 w 147"/>
                <a:gd name="T45" fmla="*/ 0 h 125"/>
                <a:gd name="T46" fmla="*/ 125 w 147"/>
                <a:gd name="T47" fmla="*/ 16 h 125"/>
                <a:gd name="T48" fmla="*/ 109 w 147"/>
                <a:gd name="T49" fmla="*/ 21 h 125"/>
                <a:gd name="T50" fmla="*/ 109 w 147"/>
                <a:gd name="T51" fmla="*/ 2 h 125"/>
                <a:gd name="T52" fmla="*/ 92 w 147"/>
                <a:gd name="T53" fmla="*/ 0 h 125"/>
                <a:gd name="T54" fmla="*/ 102 w 147"/>
                <a:gd name="T55" fmla="*/ 100 h 125"/>
                <a:gd name="T56" fmla="*/ 109 w 147"/>
                <a:gd name="T57" fmla="*/ 103 h 125"/>
                <a:gd name="T58" fmla="*/ 109 w 147"/>
                <a:gd name="T59" fmla="*/ 115 h 125"/>
                <a:gd name="T60" fmla="*/ 96 w 147"/>
                <a:gd name="T61" fmla="*/ 115 h 125"/>
                <a:gd name="T62" fmla="*/ 96 w 147"/>
                <a:gd name="T63" fmla="*/ 10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7" h="125">
                  <a:moveTo>
                    <a:pt x="92" y="0"/>
                  </a:moveTo>
                  <a:cubicBezTo>
                    <a:pt x="93" y="1"/>
                    <a:pt x="94" y="1"/>
                    <a:pt x="95" y="2"/>
                  </a:cubicBezTo>
                  <a:cubicBezTo>
                    <a:pt x="95" y="2"/>
                    <a:pt x="95" y="2"/>
                    <a:pt x="95" y="3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88" y="47"/>
                    <a:pt x="82" y="45"/>
                    <a:pt x="78" y="42"/>
                  </a:cubicBezTo>
                  <a:cubicBezTo>
                    <a:pt x="77" y="41"/>
                    <a:pt x="76" y="40"/>
                    <a:pt x="75" y="38"/>
                  </a:cubicBezTo>
                  <a:cubicBezTo>
                    <a:pt x="72" y="34"/>
                    <a:pt x="70" y="27"/>
                    <a:pt x="70" y="2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1"/>
                    <a:pt x="25" y="2"/>
                  </a:cubicBezTo>
                  <a:cubicBezTo>
                    <a:pt x="25" y="5"/>
                    <a:pt x="25" y="7"/>
                    <a:pt x="23" y="8"/>
                  </a:cubicBezTo>
                  <a:cubicBezTo>
                    <a:pt x="21" y="10"/>
                    <a:pt x="19" y="11"/>
                    <a:pt x="17" y="11"/>
                  </a:cubicBezTo>
                  <a:cubicBezTo>
                    <a:pt x="14" y="11"/>
                    <a:pt x="12" y="10"/>
                    <a:pt x="10" y="8"/>
                  </a:cubicBezTo>
                  <a:cubicBezTo>
                    <a:pt x="9" y="6"/>
                    <a:pt x="8" y="4"/>
                    <a:pt x="8" y="2"/>
                  </a:cubicBezTo>
                  <a:cubicBezTo>
                    <a:pt x="8" y="1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7"/>
                    <a:pt x="1" y="11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7"/>
                    <a:pt x="12" y="19"/>
                    <a:pt x="17" y="19"/>
                  </a:cubicBezTo>
                  <a:cubicBezTo>
                    <a:pt x="21" y="19"/>
                    <a:pt x="25" y="17"/>
                    <a:pt x="29" y="14"/>
                  </a:cubicBezTo>
                  <a:cubicBezTo>
                    <a:pt x="30" y="12"/>
                    <a:pt x="31" y="11"/>
                    <a:pt x="32" y="9"/>
                  </a:cubicBezTo>
                  <a:cubicBezTo>
                    <a:pt x="32" y="9"/>
                    <a:pt x="32" y="9"/>
                    <a:pt x="33" y="9"/>
                  </a:cubicBezTo>
                  <a:cubicBezTo>
                    <a:pt x="56" y="9"/>
                    <a:pt x="56" y="9"/>
                    <a:pt x="56" y="9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6" y="20"/>
                    <a:pt x="56" y="20"/>
                    <a:pt x="56" y="21"/>
                  </a:cubicBezTo>
                  <a:cubicBezTo>
                    <a:pt x="57" y="35"/>
                    <a:pt x="61" y="46"/>
                    <a:pt x="69" y="52"/>
                  </a:cubicBezTo>
                  <a:cubicBezTo>
                    <a:pt x="71" y="54"/>
                    <a:pt x="73" y="55"/>
                    <a:pt x="75" y="57"/>
                  </a:cubicBezTo>
                  <a:cubicBezTo>
                    <a:pt x="81" y="59"/>
                    <a:pt x="87" y="61"/>
                    <a:pt x="95" y="61"/>
                  </a:cubicBezTo>
                  <a:cubicBezTo>
                    <a:pt x="95" y="94"/>
                    <a:pt x="95" y="94"/>
                    <a:pt x="95" y="94"/>
                  </a:cubicBezTo>
                  <a:cubicBezTo>
                    <a:pt x="93" y="94"/>
                    <a:pt x="92" y="95"/>
                    <a:pt x="90" y="97"/>
                  </a:cubicBezTo>
                  <a:cubicBezTo>
                    <a:pt x="87" y="100"/>
                    <a:pt x="85" y="104"/>
                    <a:pt x="85" y="109"/>
                  </a:cubicBezTo>
                  <a:cubicBezTo>
                    <a:pt x="85" y="113"/>
                    <a:pt x="87" y="117"/>
                    <a:pt x="90" y="120"/>
                  </a:cubicBezTo>
                  <a:cubicBezTo>
                    <a:pt x="90" y="121"/>
                    <a:pt x="90" y="121"/>
                    <a:pt x="90" y="121"/>
                  </a:cubicBezTo>
                  <a:cubicBezTo>
                    <a:pt x="94" y="124"/>
                    <a:pt x="98" y="125"/>
                    <a:pt x="102" y="125"/>
                  </a:cubicBezTo>
                  <a:cubicBezTo>
                    <a:pt x="107" y="125"/>
                    <a:pt x="111" y="124"/>
                    <a:pt x="114" y="120"/>
                  </a:cubicBezTo>
                  <a:cubicBezTo>
                    <a:pt x="117" y="117"/>
                    <a:pt x="119" y="113"/>
                    <a:pt x="119" y="109"/>
                  </a:cubicBezTo>
                  <a:cubicBezTo>
                    <a:pt x="119" y="104"/>
                    <a:pt x="117" y="100"/>
                    <a:pt x="114" y="97"/>
                  </a:cubicBezTo>
                  <a:cubicBezTo>
                    <a:pt x="113" y="95"/>
                    <a:pt x="111" y="94"/>
                    <a:pt x="109" y="93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5" y="35"/>
                    <a:pt x="120" y="35"/>
                    <a:pt x="125" y="33"/>
                  </a:cubicBezTo>
                  <a:cubicBezTo>
                    <a:pt x="128" y="31"/>
                    <a:pt x="132" y="29"/>
                    <a:pt x="134" y="27"/>
                  </a:cubicBezTo>
                  <a:cubicBezTo>
                    <a:pt x="138" y="24"/>
                    <a:pt x="141" y="20"/>
                    <a:pt x="143" y="16"/>
                  </a:cubicBezTo>
                  <a:cubicBezTo>
                    <a:pt x="145" y="12"/>
                    <a:pt x="147" y="6"/>
                    <a:pt x="147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2" y="7"/>
                    <a:pt x="129" y="12"/>
                    <a:pt x="125" y="16"/>
                  </a:cubicBezTo>
                  <a:cubicBezTo>
                    <a:pt x="125" y="16"/>
                    <a:pt x="125" y="16"/>
                    <a:pt x="125" y="17"/>
                  </a:cubicBezTo>
                  <a:cubicBezTo>
                    <a:pt x="121" y="20"/>
                    <a:pt x="115" y="21"/>
                    <a:pt x="109" y="21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109" y="3"/>
                    <a:pt x="109" y="2"/>
                    <a:pt x="109" y="2"/>
                  </a:cubicBezTo>
                  <a:cubicBezTo>
                    <a:pt x="110" y="2"/>
                    <a:pt x="112" y="1"/>
                    <a:pt x="113" y="0"/>
                  </a:cubicBezTo>
                  <a:cubicBezTo>
                    <a:pt x="92" y="0"/>
                    <a:pt x="92" y="0"/>
                    <a:pt x="92" y="0"/>
                  </a:cubicBezTo>
                  <a:close/>
                  <a:moveTo>
                    <a:pt x="96" y="102"/>
                  </a:moveTo>
                  <a:cubicBezTo>
                    <a:pt x="98" y="101"/>
                    <a:pt x="100" y="100"/>
                    <a:pt x="102" y="100"/>
                  </a:cubicBezTo>
                  <a:cubicBezTo>
                    <a:pt x="105" y="100"/>
                    <a:pt x="107" y="101"/>
                    <a:pt x="108" y="102"/>
                  </a:cubicBezTo>
                  <a:cubicBezTo>
                    <a:pt x="109" y="103"/>
                    <a:pt x="109" y="103"/>
                    <a:pt x="109" y="103"/>
                  </a:cubicBezTo>
                  <a:cubicBezTo>
                    <a:pt x="110" y="104"/>
                    <a:pt x="111" y="106"/>
                    <a:pt x="111" y="109"/>
                  </a:cubicBezTo>
                  <a:cubicBezTo>
                    <a:pt x="111" y="111"/>
                    <a:pt x="110" y="113"/>
                    <a:pt x="109" y="115"/>
                  </a:cubicBezTo>
                  <a:cubicBezTo>
                    <a:pt x="107" y="117"/>
                    <a:pt x="105" y="117"/>
                    <a:pt x="102" y="117"/>
                  </a:cubicBezTo>
                  <a:cubicBezTo>
                    <a:pt x="100" y="117"/>
                    <a:pt x="98" y="117"/>
                    <a:pt x="96" y="115"/>
                  </a:cubicBezTo>
                  <a:cubicBezTo>
                    <a:pt x="94" y="113"/>
                    <a:pt x="93" y="111"/>
                    <a:pt x="93" y="109"/>
                  </a:cubicBezTo>
                  <a:cubicBezTo>
                    <a:pt x="93" y="106"/>
                    <a:pt x="94" y="104"/>
                    <a:pt x="96" y="10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8" name="Freeform 60">
              <a:extLst>
                <a:ext uri="{FF2B5EF4-FFF2-40B4-BE49-F238E27FC236}">
                  <a16:creationId xmlns:a16="http://schemas.microsoft.com/office/drawing/2014/main" id="{53162DB6-F88F-4CA1-A615-0985AF4FC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1079830" y="1295752"/>
              <a:ext cx="39851" cy="3416"/>
            </a:xfrm>
            <a:custGeom>
              <a:avLst/>
              <a:gdLst>
                <a:gd name="T0" fmla="*/ 0 w 15"/>
                <a:gd name="T1" fmla="*/ 0 h 1"/>
                <a:gd name="T2" fmla="*/ 2 w 15"/>
                <a:gd name="T3" fmla="*/ 0 h 1"/>
                <a:gd name="T4" fmla="*/ 8 w 15"/>
                <a:gd name="T5" fmla="*/ 1 h 1"/>
                <a:gd name="T6" fmla="*/ 15 w 15"/>
                <a:gd name="T7" fmla="*/ 0 h 1"/>
                <a:gd name="T8" fmla="*/ 0 w 1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">
                  <a:moveTo>
                    <a:pt x="0" y="0"/>
                  </a:moveTo>
                  <a:cubicBezTo>
                    <a:pt x="1" y="0"/>
                    <a:pt x="1" y="0"/>
                    <a:pt x="2" y="0"/>
                  </a:cubicBezTo>
                  <a:cubicBezTo>
                    <a:pt x="4" y="1"/>
                    <a:pt x="6" y="1"/>
                    <a:pt x="8" y="1"/>
                  </a:cubicBezTo>
                  <a:cubicBezTo>
                    <a:pt x="10" y="1"/>
                    <a:pt x="13" y="1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" name="CustomIcon">
            <a:extLst>
              <a:ext uri="{FF2B5EF4-FFF2-40B4-BE49-F238E27FC236}">
                <a16:creationId xmlns:a16="http://schemas.microsoft.com/office/drawing/2014/main" id="{98E1B42D-8C2A-498E-BB1C-B100F9821229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49811" y="2598853"/>
            <a:ext cx="312202" cy="312202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5FBC5CE-748D-4873-9F99-5D5556DFD8BB}"/>
              </a:ext>
            </a:extLst>
          </p:cNvPr>
          <p:cNvSpPr txBox="1">
            <a:spLocks/>
          </p:cNvSpPr>
          <p:nvPr/>
        </p:nvSpPr>
        <p:spPr>
          <a:xfrm>
            <a:off x="5545692" y="1963938"/>
            <a:ext cx="2082668" cy="28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Erste Gespräche durchgeführ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CE53A9-304D-47BD-BEA1-5C934CFFDA18}"/>
              </a:ext>
            </a:extLst>
          </p:cNvPr>
          <p:cNvSpPr txBox="1">
            <a:spLocks/>
          </p:cNvSpPr>
          <p:nvPr/>
        </p:nvSpPr>
        <p:spPr>
          <a:xfrm>
            <a:off x="5538338" y="3271060"/>
            <a:ext cx="2082668" cy="28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Potentielle Schnittmengen identifizier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C29F400-7410-448B-AAC9-DFB2D5F89A2A}"/>
              </a:ext>
            </a:extLst>
          </p:cNvPr>
          <p:cNvSpPr txBox="1">
            <a:spLocks/>
          </p:cNvSpPr>
          <p:nvPr/>
        </p:nvSpPr>
        <p:spPr>
          <a:xfrm>
            <a:off x="5545692" y="2637852"/>
            <a:ext cx="2082668" cy="28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Prüfung einer möglichen Verschiebun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CFFA756-C47E-46EA-8D77-E3A89D850626}"/>
              </a:ext>
            </a:extLst>
          </p:cNvPr>
          <p:cNvSpPr txBox="1">
            <a:spLocks/>
          </p:cNvSpPr>
          <p:nvPr/>
        </p:nvSpPr>
        <p:spPr>
          <a:xfrm>
            <a:off x="5545693" y="1277917"/>
            <a:ext cx="2082668" cy="28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Besetzung der Rollen offe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BC4A5B8-EA88-4C92-B997-6C4D5DB0328C}"/>
              </a:ext>
            </a:extLst>
          </p:cNvPr>
          <p:cNvSpPr txBox="1">
            <a:spLocks/>
          </p:cNvSpPr>
          <p:nvPr/>
        </p:nvSpPr>
        <p:spPr>
          <a:xfrm>
            <a:off x="5545692" y="3951856"/>
            <a:ext cx="2082668" cy="28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Steuerungskreise werden zweiwöchig weitergeführt</a:t>
            </a:r>
          </a:p>
        </p:txBody>
      </p:sp>
      <p:grpSp>
        <p:nvGrpSpPr>
          <p:cNvPr id="94" name="sticker">
            <a:extLst>
              <a:ext uri="{FF2B5EF4-FFF2-40B4-BE49-F238E27FC236}">
                <a16:creationId xmlns:a16="http://schemas.microsoft.com/office/drawing/2014/main" id="{4E1FD025-E0EA-492B-BE92-DE9C7CDB3772}"/>
              </a:ext>
            </a:extLst>
          </p:cNvPr>
          <p:cNvGrpSpPr/>
          <p:nvPr/>
        </p:nvGrpSpPr>
        <p:grpSpPr>
          <a:xfrm>
            <a:off x="8187537" y="458706"/>
            <a:ext cx="628377" cy="226058"/>
            <a:chOff x="8182508" y="713536"/>
            <a:chExt cx="628377" cy="226058"/>
          </a:xfrm>
        </p:grpSpPr>
        <p:sp>
          <p:nvSpPr>
            <p:cNvPr id="96" name="StickerRectangle">
              <a:extLst>
                <a:ext uri="{FF2B5EF4-FFF2-40B4-BE49-F238E27FC236}">
                  <a16:creationId xmlns:a16="http://schemas.microsoft.com/office/drawing/2014/main" id="{191F096E-27DB-42D0-BCA6-ED12AE7BF0C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98" name="AutoShape 32">
              <a:extLst>
                <a:ext uri="{FF2B5EF4-FFF2-40B4-BE49-F238E27FC236}">
                  <a16:creationId xmlns:a16="http://schemas.microsoft.com/office/drawing/2014/main" id="{05B91DC2-710C-4BDA-9FE3-F86BD24499A0}"/>
                </a:ext>
              </a:extLst>
            </p:cNvPr>
            <p:cNvCxnSpPr>
              <a:cxnSpLocks noChangeShapeType="1"/>
              <a:stCxn id="96" idx="4"/>
              <a:endCxn id="96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" name="AutoShape 32">
              <a:extLst>
                <a:ext uri="{FF2B5EF4-FFF2-40B4-BE49-F238E27FC236}">
                  <a16:creationId xmlns:a16="http://schemas.microsoft.com/office/drawing/2014/main" id="{3AFB6317-B7A6-4056-8124-1C56810D2852}"/>
                </a:ext>
              </a:extLst>
            </p:cNvPr>
            <p:cNvCxnSpPr>
              <a:cxnSpLocks noChangeShapeType="1"/>
              <a:stCxn id="96" idx="2"/>
              <a:endCxn id="96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78" name="TextBox 177">
            <a:extLst>
              <a:ext uri="{FF2B5EF4-FFF2-40B4-BE49-F238E27FC236}">
                <a16:creationId xmlns:a16="http://schemas.microsoft.com/office/drawing/2014/main" id="{98EB86E6-6614-487B-9C1A-9F0C0298930B}"/>
              </a:ext>
            </a:extLst>
          </p:cNvPr>
          <p:cNvSpPr txBox="1"/>
          <p:nvPr/>
        </p:nvSpPr>
        <p:spPr>
          <a:xfrm>
            <a:off x="8025218" y="939485"/>
            <a:ext cx="31258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</a:rPr>
              <a:t>Status</a:t>
            </a:r>
          </a:p>
        </p:txBody>
      </p:sp>
      <p:pic>
        <p:nvPicPr>
          <p:cNvPr id="179" name="Graphic 178">
            <a:extLst>
              <a:ext uri="{FF2B5EF4-FFF2-40B4-BE49-F238E27FC236}">
                <a16:creationId xmlns:a16="http://schemas.microsoft.com/office/drawing/2014/main" id="{CA4F2ECC-FAB9-4E9B-951C-C91EFA29F3FC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rcRect l="33559" t="13900" r="30906" b="14497"/>
          <a:stretch/>
        </p:blipFill>
        <p:spPr>
          <a:xfrm>
            <a:off x="7871851" y="803133"/>
            <a:ext cx="153367" cy="274851"/>
          </a:xfrm>
          <a:prstGeom prst="rect">
            <a:avLst/>
          </a:prstGeom>
        </p:spPr>
      </p:pic>
      <p:sp>
        <p:nvSpPr>
          <p:cNvPr id="180" name="TextBox 179">
            <a:extLst>
              <a:ext uri="{FF2B5EF4-FFF2-40B4-BE49-F238E27FC236}">
                <a16:creationId xmlns:a16="http://schemas.microsoft.com/office/drawing/2014/main" id="{B5147707-60BE-46FF-8205-80023A83955C}"/>
              </a:ext>
            </a:extLst>
          </p:cNvPr>
          <p:cNvSpPr txBox="1"/>
          <p:nvPr/>
        </p:nvSpPr>
        <p:spPr>
          <a:xfrm>
            <a:off x="5820004" y="936268"/>
            <a:ext cx="112691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</a:rPr>
              <a:t>Begründung für Status</a:t>
            </a:r>
          </a:p>
        </p:txBody>
      </p:sp>
      <p:pic>
        <p:nvPicPr>
          <p:cNvPr id="181" name="Graphic 180">
            <a:extLst>
              <a:ext uri="{FF2B5EF4-FFF2-40B4-BE49-F238E27FC236}">
                <a16:creationId xmlns:a16="http://schemas.microsoft.com/office/drawing/2014/main" id="{B6BDD448-6138-4248-80AA-237D93420144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rcRect l="20796" t="20796" r="17149" b="17149"/>
          <a:stretch/>
        </p:blipFill>
        <p:spPr>
          <a:xfrm>
            <a:off x="5545693" y="831699"/>
            <a:ext cx="261093" cy="232220"/>
          </a:xfrm>
          <a:prstGeom prst="rect">
            <a:avLst/>
          </a:prstGeom>
        </p:spPr>
      </p:pic>
      <p:sp>
        <p:nvSpPr>
          <p:cNvPr id="182" name="Textfeld 38">
            <a:extLst>
              <a:ext uri="{FF2B5EF4-FFF2-40B4-BE49-F238E27FC236}">
                <a16:creationId xmlns:a16="http://schemas.microsoft.com/office/drawing/2014/main" id="{456BC78F-36C6-4213-BEC1-6EACF560A8E8}"/>
              </a:ext>
            </a:extLst>
          </p:cNvPr>
          <p:cNvSpPr txBox="1"/>
          <p:nvPr/>
        </p:nvSpPr>
        <p:spPr>
          <a:xfrm>
            <a:off x="764710" y="4843042"/>
            <a:ext cx="1814599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Keine Verzögerungen, 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geringe Eintrittswahrscheinlichkeit der Risiken</a:t>
            </a:r>
          </a:p>
        </p:txBody>
      </p:sp>
      <p:sp>
        <p:nvSpPr>
          <p:cNvPr id="183" name="Textfeld 41">
            <a:extLst>
              <a:ext uri="{FF2B5EF4-FFF2-40B4-BE49-F238E27FC236}">
                <a16:creationId xmlns:a16="http://schemas.microsoft.com/office/drawing/2014/main" id="{1E458396-A6EC-4582-9173-39B77674459C}"/>
              </a:ext>
            </a:extLst>
          </p:cNvPr>
          <p:cNvSpPr txBox="1"/>
          <p:nvPr/>
        </p:nvSpPr>
        <p:spPr>
          <a:xfrm>
            <a:off x="2890801" y="4843042"/>
            <a:ext cx="1899559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Potentielle Verzögerung, 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mittlere  Eintrittswahrscheinlichkeit  der Risiken </a:t>
            </a:r>
          </a:p>
        </p:txBody>
      </p:sp>
      <p:sp>
        <p:nvSpPr>
          <p:cNvPr id="185" name="Oval 184">
            <a:extLst>
              <a:ext uri="{FF2B5EF4-FFF2-40B4-BE49-F238E27FC236}">
                <a16:creationId xmlns:a16="http://schemas.microsoft.com/office/drawing/2014/main" id="{BF1D8516-5229-48C7-AFEA-DAED2344C49D}"/>
              </a:ext>
            </a:extLst>
          </p:cNvPr>
          <p:cNvSpPr>
            <a:spLocks noChangeAspect="1"/>
          </p:cNvSpPr>
          <p:nvPr/>
        </p:nvSpPr>
        <p:spPr bwMode="auto">
          <a:xfrm>
            <a:off x="611250" y="4846147"/>
            <a:ext cx="109728" cy="11037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86" name="Oval 185">
            <a:extLst>
              <a:ext uri="{FF2B5EF4-FFF2-40B4-BE49-F238E27FC236}">
                <a16:creationId xmlns:a16="http://schemas.microsoft.com/office/drawing/2014/main" id="{54D6D6EE-4B5A-4837-B340-A64C737582D7}"/>
              </a:ext>
            </a:extLst>
          </p:cNvPr>
          <p:cNvSpPr>
            <a:spLocks noChangeAspect="1"/>
          </p:cNvSpPr>
          <p:nvPr/>
        </p:nvSpPr>
        <p:spPr bwMode="auto">
          <a:xfrm>
            <a:off x="2737341" y="4846147"/>
            <a:ext cx="109728" cy="11037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87" name="Oval 186">
            <a:extLst>
              <a:ext uri="{FF2B5EF4-FFF2-40B4-BE49-F238E27FC236}">
                <a16:creationId xmlns:a16="http://schemas.microsoft.com/office/drawing/2014/main" id="{C634757A-E037-4551-9D59-3521DDFE41D1}"/>
              </a:ext>
            </a:extLst>
          </p:cNvPr>
          <p:cNvSpPr>
            <a:spLocks noChangeAspect="1"/>
          </p:cNvSpPr>
          <p:nvPr/>
        </p:nvSpPr>
        <p:spPr bwMode="auto">
          <a:xfrm>
            <a:off x="4948392" y="4846147"/>
            <a:ext cx="109728" cy="110370"/>
          </a:xfrm>
          <a:prstGeom prst="ellipse">
            <a:avLst/>
          </a:prstGeom>
          <a:solidFill>
            <a:srgbClr val="D241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grpSp>
        <p:nvGrpSpPr>
          <p:cNvPr id="188" name="Group 187">
            <a:extLst>
              <a:ext uri="{FF2B5EF4-FFF2-40B4-BE49-F238E27FC236}">
                <a16:creationId xmlns:a16="http://schemas.microsoft.com/office/drawing/2014/main" id="{8431DB92-92B0-43C4-A2D6-7671647B3DED}"/>
              </a:ext>
            </a:extLst>
          </p:cNvPr>
          <p:cNvGrpSpPr/>
          <p:nvPr/>
        </p:nvGrpSpPr>
        <p:grpSpPr>
          <a:xfrm>
            <a:off x="7860014" y="1964941"/>
            <a:ext cx="684001" cy="251999"/>
            <a:chOff x="7892671" y="1957817"/>
            <a:chExt cx="684001" cy="251999"/>
          </a:xfrm>
        </p:grpSpPr>
        <p:sp>
          <p:nvSpPr>
            <p:cNvPr id="189" name="Freeform 6">
              <a:extLst>
                <a:ext uri="{FF2B5EF4-FFF2-40B4-BE49-F238E27FC236}">
                  <a16:creationId xmlns:a16="http://schemas.microsoft.com/office/drawing/2014/main" id="{DAFA398B-A632-4F0E-B58E-915640ABF79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12194" y="1745412"/>
              <a:ext cx="244958" cy="676809"/>
            </a:xfrm>
            <a:custGeom>
              <a:avLst/>
              <a:gdLst>
                <a:gd name="T0" fmla="*/ 772 w 2785"/>
                <a:gd name="T1" fmla="*/ 7211 h 7211"/>
                <a:gd name="T2" fmla="*/ 1392 w 2785"/>
                <a:gd name="T3" fmla="*/ 7211 h 7211"/>
                <a:gd name="T4" fmla="*/ 2013 w 2785"/>
                <a:gd name="T5" fmla="*/ 7211 h 7211"/>
                <a:gd name="T6" fmla="*/ 2559 w 2785"/>
                <a:gd name="T7" fmla="*/ 6984 h 7211"/>
                <a:gd name="T8" fmla="*/ 2785 w 2785"/>
                <a:gd name="T9" fmla="*/ 6439 h 7211"/>
                <a:gd name="T10" fmla="*/ 2785 w 2785"/>
                <a:gd name="T11" fmla="*/ 3605 h 7211"/>
                <a:gd name="T12" fmla="*/ 2785 w 2785"/>
                <a:gd name="T13" fmla="*/ 772 h 7211"/>
                <a:gd name="T14" fmla="*/ 2559 w 2785"/>
                <a:gd name="T15" fmla="*/ 226 h 7211"/>
                <a:gd name="T16" fmla="*/ 2013 w 2785"/>
                <a:gd name="T17" fmla="*/ 0 h 7211"/>
                <a:gd name="T18" fmla="*/ 1392 w 2785"/>
                <a:gd name="T19" fmla="*/ 0 h 7211"/>
                <a:gd name="T20" fmla="*/ 772 w 2785"/>
                <a:gd name="T21" fmla="*/ 0 h 7211"/>
                <a:gd name="T22" fmla="*/ 226 w 2785"/>
                <a:gd name="T23" fmla="*/ 226 h 7211"/>
                <a:gd name="T24" fmla="*/ 0 w 2785"/>
                <a:gd name="T25" fmla="*/ 772 h 7211"/>
                <a:gd name="T26" fmla="*/ 0 w 2785"/>
                <a:gd name="T27" fmla="*/ 3605 h 7211"/>
                <a:gd name="T28" fmla="*/ 0 w 2785"/>
                <a:gd name="T29" fmla="*/ 6439 h 7211"/>
                <a:gd name="T30" fmla="*/ 226 w 2785"/>
                <a:gd name="T31" fmla="*/ 6984 h 7211"/>
                <a:gd name="T32" fmla="*/ 772 w 2785"/>
                <a:gd name="T33" fmla="*/ 7211 h 7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5" h="7211">
                  <a:moveTo>
                    <a:pt x="772" y="7211"/>
                  </a:moveTo>
                  <a:cubicBezTo>
                    <a:pt x="1392" y="7211"/>
                    <a:pt x="1392" y="7211"/>
                    <a:pt x="1392" y="7211"/>
                  </a:cubicBezTo>
                  <a:cubicBezTo>
                    <a:pt x="2013" y="7211"/>
                    <a:pt x="2013" y="7211"/>
                    <a:pt x="2013" y="7211"/>
                  </a:cubicBezTo>
                  <a:cubicBezTo>
                    <a:pt x="2226" y="7211"/>
                    <a:pt x="2419" y="7124"/>
                    <a:pt x="2559" y="6984"/>
                  </a:cubicBezTo>
                  <a:cubicBezTo>
                    <a:pt x="2698" y="6845"/>
                    <a:pt x="2785" y="6652"/>
                    <a:pt x="2785" y="6439"/>
                  </a:cubicBezTo>
                  <a:cubicBezTo>
                    <a:pt x="2785" y="3605"/>
                    <a:pt x="2785" y="3605"/>
                    <a:pt x="2785" y="3605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0" y="3605"/>
                    <a:pt x="0" y="3605"/>
                    <a:pt x="0" y="3605"/>
                  </a:cubicBezTo>
                  <a:cubicBezTo>
                    <a:pt x="0" y="6439"/>
                    <a:pt x="0" y="6439"/>
                    <a:pt x="0" y="6439"/>
                  </a:cubicBezTo>
                  <a:cubicBezTo>
                    <a:pt x="0" y="6652"/>
                    <a:pt x="86" y="6845"/>
                    <a:pt x="226" y="6984"/>
                  </a:cubicBezTo>
                  <a:cubicBezTo>
                    <a:pt x="366" y="7124"/>
                    <a:pt x="559" y="7211"/>
                    <a:pt x="772" y="7211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190" name="Freeform 7">
              <a:extLst>
                <a:ext uri="{FF2B5EF4-FFF2-40B4-BE49-F238E27FC236}">
                  <a16:creationId xmlns:a16="http://schemas.microsoft.com/office/drawing/2014/main" id="{376115CD-99C7-4882-B0FF-E26C6964095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4323" y="2047542"/>
              <a:ext cx="244958" cy="72550"/>
            </a:xfrm>
            <a:custGeom>
              <a:avLst/>
              <a:gdLst>
                <a:gd name="T0" fmla="*/ 772 w 2785"/>
                <a:gd name="T1" fmla="*/ 772 h 772"/>
                <a:gd name="T2" fmla="*/ 1392 w 2785"/>
                <a:gd name="T3" fmla="*/ 772 h 772"/>
                <a:gd name="T4" fmla="*/ 2013 w 2785"/>
                <a:gd name="T5" fmla="*/ 772 h 772"/>
                <a:gd name="T6" fmla="*/ 2559 w 2785"/>
                <a:gd name="T7" fmla="*/ 545 h 772"/>
                <a:gd name="T8" fmla="*/ 2785 w 2785"/>
                <a:gd name="T9" fmla="*/ 0 h 772"/>
                <a:gd name="T10" fmla="*/ 0 w 2785"/>
                <a:gd name="T11" fmla="*/ 0 h 772"/>
                <a:gd name="T12" fmla="*/ 226 w 2785"/>
                <a:gd name="T13" fmla="*/ 545 h 772"/>
                <a:gd name="T14" fmla="*/ 772 w 2785"/>
                <a:gd name="T15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772" y="772"/>
                  </a:moveTo>
                  <a:cubicBezTo>
                    <a:pt x="1392" y="772"/>
                    <a:pt x="1392" y="772"/>
                    <a:pt x="1392" y="772"/>
                  </a:cubicBezTo>
                  <a:cubicBezTo>
                    <a:pt x="2013" y="772"/>
                    <a:pt x="2013" y="772"/>
                    <a:pt x="2013" y="772"/>
                  </a:cubicBezTo>
                  <a:cubicBezTo>
                    <a:pt x="2226" y="772"/>
                    <a:pt x="2419" y="685"/>
                    <a:pt x="2559" y="545"/>
                  </a:cubicBezTo>
                  <a:cubicBezTo>
                    <a:pt x="2698" y="406"/>
                    <a:pt x="2785" y="213"/>
                    <a:pt x="27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86" y="406"/>
                    <a:pt x="226" y="545"/>
                  </a:cubicBezTo>
                  <a:cubicBezTo>
                    <a:pt x="366" y="685"/>
                    <a:pt x="559" y="772"/>
                    <a:pt x="772" y="772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191" name="Freeform 8">
              <a:extLst>
                <a:ext uri="{FF2B5EF4-FFF2-40B4-BE49-F238E27FC236}">
                  <a16:creationId xmlns:a16="http://schemas.microsoft.com/office/drawing/2014/main" id="{E8D1E431-1FB7-4753-90F5-ADBB5BBD3AF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0639" y="2043784"/>
              <a:ext cx="251999" cy="80066"/>
            </a:xfrm>
            <a:custGeom>
              <a:avLst/>
              <a:gdLst>
                <a:gd name="T0" fmla="*/ 812 w 2865"/>
                <a:gd name="T1" fmla="*/ 852 h 852"/>
                <a:gd name="T2" fmla="*/ 2053 w 2865"/>
                <a:gd name="T3" fmla="*/ 852 h 852"/>
                <a:gd name="T4" fmla="*/ 2627 w 2865"/>
                <a:gd name="T5" fmla="*/ 614 h 852"/>
                <a:gd name="T6" fmla="*/ 2865 w 2865"/>
                <a:gd name="T7" fmla="*/ 40 h 852"/>
                <a:gd name="T8" fmla="*/ 2825 w 2865"/>
                <a:gd name="T9" fmla="*/ 0 h 852"/>
                <a:gd name="T10" fmla="*/ 2785 w 2865"/>
                <a:gd name="T11" fmla="*/ 40 h 852"/>
                <a:gd name="T12" fmla="*/ 2570 w 2865"/>
                <a:gd name="T13" fmla="*/ 557 h 852"/>
                <a:gd name="T14" fmla="*/ 2053 w 2865"/>
                <a:gd name="T15" fmla="*/ 772 h 852"/>
                <a:gd name="T16" fmla="*/ 812 w 2865"/>
                <a:gd name="T17" fmla="*/ 772 h 852"/>
                <a:gd name="T18" fmla="*/ 294 w 2865"/>
                <a:gd name="T19" fmla="*/ 557 h 852"/>
                <a:gd name="T20" fmla="*/ 80 w 2865"/>
                <a:gd name="T21" fmla="*/ 40 h 852"/>
                <a:gd name="T22" fmla="*/ 40 w 2865"/>
                <a:gd name="T23" fmla="*/ 0 h 852"/>
                <a:gd name="T24" fmla="*/ 0 w 2865"/>
                <a:gd name="T25" fmla="*/ 40 h 852"/>
                <a:gd name="T26" fmla="*/ 238 w 2865"/>
                <a:gd name="T27" fmla="*/ 614 h 852"/>
                <a:gd name="T28" fmla="*/ 812 w 2865"/>
                <a:gd name="T29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12" y="852"/>
                  </a:moveTo>
                  <a:cubicBezTo>
                    <a:pt x="2053" y="852"/>
                    <a:pt x="2053" y="852"/>
                    <a:pt x="2053" y="852"/>
                  </a:cubicBezTo>
                  <a:cubicBezTo>
                    <a:pt x="2270" y="852"/>
                    <a:pt x="2474" y="767"/>
                    <a:pt x="2627" y="614"/>
                  </a:cubicBezTo>
                  <a:cubicBezTo>
                    <a:pt x="2780" y="460"/>
                    <a:pt x="2865" y="256"/>
                    <a:pt x="2865" y="40"/>
                  </a:cubicBezTo>
                  <a:cubicBezTo>
                    <a:pt x="2865" y="17"/>
                    <a:pt x="2847" y="0"/>
                    <a:pt x="2825" y="0"/>
                  </a:cubicBezTo>
                  <a:cubicBezTo>
                    <a:pt x="2803" y="0"/>
                    <a:pt x="2785" y="17"/>
                    <a:pt x="2785" y="40"/>
                  </a:cubicBezTo>
                  <a:cubicBezTo>
                    <a:pt x="2785" y="235"/>
                    <a:pt x="2709" y="419"/>
                    <a:pt x="2570" y="557"/>
                  </a:cubicBezTo>
                  <a:cubicBezTo>
                    <a:pt x="2432" y="695"/>
                    <a:pt x="2248" y="772"/>
                    <a:pt x="2053" y="772"/>
                  </a:cubicBezTo>
                  <a:cubicBezTo>
                    <a:pt x="812" y="772"/>
                    <a:pt x="812" y="772"/>
                    <a:pt x="812" y="772"/>
                  </a:cubicBezTo>
                  <a:cubicBezTo>
                    <a:pt x="616" y="772"/>
                    <a:pt x="432" y="695"/>
                    <a:pt x="294" y="557"/>
                  </a:cubicBezTo>
                  <a:cubicBezTo>
                    <a:pt x="156" y="419"/>
                    <a:pt x="80" y="235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ubicBezTo>
                    <a:pt x="18" y="0"/>
                    <a:pt x="0" y="17"/>
                    <a:pt x="0" y="40"/>
                  </a:cubicBezTo>
                  <a:cubicBezTo>
                    <a:pt x="0" y="256"/>
                    <a:pt x="84" y="460"/>
                    <a:pt x="238" y="614"/>
                  </a:cubicBezTo>
                  <a:cubicBezTo>
                    <a:pt x="391" y="767"/>
                    <a:pt x="595" y="852"/>
                    <a:pt x="812" y="85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192" name="Freeform 9">
              <a:extLst>
                <a:ext uri="{FF2B5EF4-FFF2-40B4-BE49-F238E27FC236}">
                  <a16:creationId xmlns:a16="http://schemas.microsoft.com/office/drawing/2014/main" id="{B3182610-C1C1-4142-B5A3-A6733B54BEF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10064" y="2047542"/>
              <a:ext cx="244958" cy="72550"/>
            </a:xfrm>
            <a:custGeom>
              <a:avLst/>
              <a:gdLst>
                <a:gd name="T0" fmla="*/ 2559 w 2785"/>
                <a:gd name="T1" fmla="*/ 226 h 772"/>
                <a:gd name="T2" fmla="*/ 2013 w 2785"/>
                <a:gd name="T3" fmla="*/ 0 h 772"/>
                <a:gd name="T4" fmla="*/ 1392 w 2785"/>
                <a:gd name="T5" fmla="*/ 0 h 772"/>
                <a:gd name="T6" fmla="*/ 772 w 2785"/>
                <a:gd name="T7" fmla="*/ 0 h 772"/>
                <a:gd name="T8" fmla="*/ 226 w 2785"/>
                <a:gd name="T9" fmla="*/ 226 h 772"/>
                <a:gd name="T10" fmla="*/ 0 w 2785"/>
                <a:gd name="T11" fmla="*/ 772 h 772"/>
                <a:gd name="T12" fmla="*/ 2785 w 2785"/>
                <a:gd name="T13" fmla="*/ 772 h 772"/>
                <a:gd name="T14" fmla="*/ 2559 w 2785"/>
                <a:gd name="T15" fmla="*/ 226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2559" y="226"/>
                  </a:move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193" name="Freeform 10">
              <a:extLst>
                <a:ext uri="{FF2B5EF4-FFF2-40B4-BE49-F238E27FC236}">
                  <a16:creationId xmlns:a16="http://schemas.microsoft.com/office/drawing/2014/main" id="{8EB99E22-80FA-42C5-B368-28E32D97F11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06542" y="2043946"/>
              <a:ext cx="251999" cy="79741"/>
            </a:xfrm>
            <a:custGeom>
              <a:avLst/>
              <a:gdLst>
                <a:gd name="T0" fmla="*/ 80 w 2865"/>
                <a:gd name="T1" fmla="*/ 812 h 852"/>
                <a:gd name="T2" fmla="*/ 294 w 2865"/>
                <a:gd name="T3" fmla="*/ 294 h 852"/>
                <a:gd name="T4" fmla="*/ 812 w 2865"/>
                <a:gd name="T5" fmla="*/ 80 h 852"/>
                <a:gd name="T6" fmla="*/ 2053 w 2865"/>
                <a:gd name="T7" fmla="*/ 80 h 852"/>
                <a:gd name="T8" fmla="*/ 2570 w 2865"/>
                <a:gd name="T9" fmla="*/ 294 h 852"/>
                <a:gd name="T10" fmla="*/ 2785 w 2865"/>
                <a:gd name="T11" fmla="*/ 812 h 852"/>
                <a:gd name="T12" fmla="*/ 2825 w 2865"/>
                <a:gd name="T13" fmla="*/ 852 h 852"/>
                <a:gd name="T14" fmla="*/ 2865 w 2865"/>
                <a:gd name="T15" fmla="*/ 812 h 852"/>
                <a:gd name="T16" fmla="*/ 2627 w 2865"/>
                <a:gd name="T17" fmla="*/ 238 h 852"/>
                <a:gd name="T18" fmla="*/ 2053 w 2865"/>
                <a:gd name="T19" fmla="*/ 0 h 852"/>
                <a:gd name="T20" fmla="*/ 812 w 2865"/>
                <a:gd name="T21" fmla="*/ 0 h 852"/>
                <a:gd name="T22" fmla="*/ 238 w 2865"/>
                <a:gd name="T23" fmla="*/ 238 h 852"/>
                <a:gd name="T24" fmla="*/ 0 w 2865"/>
                <a:gd name="T25" fmla="*/ 812 h 852"/>
                <a:gd name="T26" fmla="*/ 40 w 2865"/>
                <a:gd name="T27" fmla="*/ 852 h 852"/>
                <a:gd name="T28" fmla="*/ 80 w 2865"/>
                <a:gd name="T29" fmla="*/ 81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0" y="812"/>
                  </a:moveTo>
                  <a:cubicBezTo>
                    <a:pt x="80" y="616"/>
                    <a:pt x="156" y="432"/>
                    <a:pt x="294" y="294"/>
                  </a:cubicBezTo>
                  <a:cubicBezTo>
                    <a:pt x="432" y="156"/>
                    <a:pt x="616" y="80"/>
                    <a:pt x="812" y="80"/>
                  </a:cubicBezTo>
                  <a:cubicBezTo>
                    <a:pt x="2053" y="80"/>
                    <a:pt x="2053" y="80"/>
                    <a:pt x="2053" y="80"/>
                  </a:cubicBezTo>
                  <a:cubicBezTo>
                    <a:pt x="2248" y="80"/>
                    <a:pt x="2432" y="156"/>
                    <a:pt x="2570" y="294"/>
                  </a:cubicBezTo>
                  <a:cubicBezTo>
                    <a:pt x="2709" y="432"/>
                    <a:pt x="2785" y="616"/>
                    <a:pt x="2785" y="812"/>
                  </a:cubicBezTo>
                  <a:cubicBezTo>
                    <a:pt x="2785" y="834"/>
                    <a:pt x="2803" y="852"/>
                    <a:pt x="2825" y="852"/>
                  </a:cubicBezTo>
                  <a:cubicBezTo>
                    <a:pt x="2847" y="852"/>
                    <a:pt x="2865" y="834"/>
                    <a:pt x="2865" y="812"/>
                  </a:cubicBezTo>
                  <a:cubicBezTo>
                    <a:pt x="2865" y="595"/>
                    <a:pt x="2780" y="391"/>
                    <a:pt x="2627" y="238"/>
                  </a:cubicBezTo>
                  <a:cubicBezTo>
                    <a:pt x="2474" y="84"/>
                    <a:pt x="2270" y="0"/>
                    <a:pt x="2053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95" y="0"/>
                    <a:pt x="391" y="84"/>
                    <a:pt x="238" y="238"/>
                  </a:cubicBezTo>
                  <a:cubicBezTo>
                    <a:pt x="84" y="391"/>
                    <a:pt x="0" y="595"/>
                    <a:pt x="0" y="812"/>
                  </a:cubicBezTo>
                  <a:cubicBezTo>
                    <a:pt x="0" y="834"/>
                    <a:pt x="18" y="852"/>
                    <a:pt x="40" y="852"/>
                  </a:cubicBezTo>
                  <a:cubicBezTo>
                    <a:pt x="62" y="852"/>
                    <a:pt x="80" y="834"/>
                    <a:pt x="80" y="81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29A3C966-8ED8-406B-A91E-76B67F6549E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926776" y="2000780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id="{4A529EA9-320F-417C-AD47-6F33F079B8A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37615" y="2000780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id="{DDAA41BB-0673-4605-B3F9-4A4822B799D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48455" y="2000780"/>
              <a:ext cx="173490" cy="166072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BC376D6A-2084-4ABE-9AB6-9E2294C41486}"/>
              </a:ext>
            </a:extLst>
          </p:cNvPr>
          <p:cNvGrpSpPr/>
          <p:nvPr/>
        </p:nvGrpSpPr>
        <p:grpSpPr>
          <a:xfrm>
            <a:off x="7860014" y="1310490"/>
            <a:ext cx="684001" cy="251999"/>
            <a:chOff x="7892671" y="1295012"/>
            <a:chExt cx="684001" cy="251999"/>
          </a:xfrm>
        </p:grpSpPr>
        <p:sp>
          <p:nvSpPr>
            <p:cNvPr id="198" name="Freeform 6">
              <a:extLst>
                <a:ext uri="{FF2B5EF4-FFF2-40B4-BE49-F238E27FC236}">
                  <a16:creationId xmlns:a16="http://schemas.microsoft.com/office/drawing/2014/main" id="{2E1EB86C-842F-4441-94C3-C6BFC7883A2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12193" y="1082607"/>
              <a:ext cx="244958" cy="676809"/>
            </a:xfrm>
            <a:custGeom>
              <a:avLst/>
              <a:gdLst>
                <a:gd name="T0" fmla="*/ 772 w 2785"/>
                <a:gd name="T1" fmla="*/ 7211 h 7211"/>
                <a:gd name="T2" fmla="*/ 1392 w 2785"/>
                <a:gd name="T3" fmla="*/ 7211 h 7211"/>
                <a:gd name="T4" fmla="*/ 2013 w 2785"/>
                <a:gd name="T5" fmla="*/ 7211 h 7211"/>
                <a:gd name="T6" fmla="*/ 2559 w 2785"/>
                <a:gd name="T7" fmla="*/ 6984 h 7211"/>
                <a:gd name="T8" fmla="*/ 2785 w 2785"/>
                <a:gd name="T9" fmla="*/ 6439 h 7211"/>
                <a:gd name="T10" fmla="*/ 2785 w 2785"/>
                <a:gd name="T11" fmla="*/ 3605 h 7211"/>
                <a:gd name="T12" fmla="*/ 2785 w 2785"/>
                <a:gd name="T13" fmla="*/ 772 h 7211"/>
                <a:gd name="T14" fmla="*/ 2559 w 2785"/>
                <a:gd name="T15" fmla="*/ 226 h 7211"/>
                <a:gd name="T16" fmla="*/ 2013 w 2785"/>
                <a:gd name="T17" fmla="*/ 0 h 7211"/>
                <a:gd name="T18" fmla="*/ 1392 w 2785"/>
                <a:gd name="T19" fmla="*/ 0 h 7211"/>
                <a:gd name="T20" fmla="*/ 772 w 2785"/>
                <a:gd name="T21" fmla="*/ 0 h 7211"/>
                <a:gd name="T22" fmla="*/ 226 w 2785"/>
                <a:gd name="T23" fmla="*/ 226 h 7211"/>
                <a:gd name="T24" fmla="*/ 0 w 2785"/>
                <a:gd name="T25" fmla="*/ 772 h 7211"/>
                <a:gd name="T26" fmla="*/ 0 w 2785"/>
                <a:gd name="T27" fmla="*/ 3605 h 7211"/>
                <a:gd name="T28" fmla="*/ 0 w 2785"/>
                <a:gd name="T29" fmla="*/ 6439 h 7211"/>
                <a:gd name="T30" fmla="*/ 226 w 2785"/>
                <a:gd name="T31" fmla="*/ 6984 h 7211"/>
                <a:gd name="T32" fmla="*/ 772 w 2785"/>
                <a:gd name="T33" fmla="*/ 7211 h 7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5" h="7211">
                  <a:moveTo>
                    <a:pt x="772" y="7211"/>
                  </a:moveTo>
                  <a:cubicBezTo>
                    <a:pt x="1392" y="7211"/>
                    <a:pt x="1392" y="7211"/>
                    <a:pt x="1392" y="7211"/>
                  </a:cubicBezTo>
                  <a:cubicBezTo>
                    <a:pt x="2013" y="7211"/>
                    <a:pt x="2013" y="7211"/>
                    <a:pt x="2013" y="7211"/>
                  </a:cubicBezTo>
                  <a:cubicBezTo>
                    <a:pt x="2226" y="7211"/>
                    <a:pt x="2419" y="7124"/>
                    <a:pt x="2559" y="6984"/>
                  </a:cubicBezTo>
                  <a:cubicBezTo>
                    <a:pt x="2698" y="6845"/>
                    <a:pt x="2785" y="6652"/>
                    <a:pt x="2785" y="6439"/>
                  </a:cubicBezTo>
                  <a:cubicBezTo>
                    <a:pt x="2785" y="3605"/>
                    <a:pt x="2785" y="3605"/>
                    <a:pt x="2785" y="3605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0" y="3605"/>
                    <a:pt x="0" y="3605"/>
                    <a:pt x="0" y="3605"/>
                  </a:cubicBezTo>
                  <a:cubicBezTo>
                    <a:pt x="0" y="6439"/>
                    <a:pt x="0" y="6439"/>
                    <a:pt x="0" y="6439"/>
                  </a:cubicBezTo>
                  <a:cubicBezTo>
                    <a:pt x="0" y="6652"/>
                    <a:pt x="86" y="6845"/>
                    <a:pt x="226" y="6984"/>
                  </a:cubicBezTo>
                  <a:cubicBezTo>
                    <a:pt x="366" y="7124"/>
                    <a:pt x="559" y="7211"/>
                    <a:pt x="772" y="7211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199" name="Freeform 7">
              <a:extLst>
                <a:ext uri="{FF2B5EF4-FFF2-40B4-BE49-F238E27FC236}">
                  <a16:creationId xmlns:a16="http://schemas.microsoft.com/office/drawing/2014/main" id="{0B0DC2B3-D7AA-4BA7-8AF9-8347E506C15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4323" y="1384737"/>
              <a:ext cx="244958" cy="72550"/>
            </a:xfrm>
            <a:custGeom>
              <a:avLst/>
              <a:gdLst>
                <a:gd name="T0" fmla="*/ 772 w 2785"/>
                <a:gd name="T1" fmla="*/ 772 h 772"/>
                <a:gd name="T2" fmla="*/ 1392 w 2785"/>
                <a:gd name="T3" fmla="*/ 772 h 772"/>
                <a:gd name="T4" fmla="*/ 2013 w 2785"/>
                <a:gd name="T5" fmla="*/ 772 h 772"/>
                <a:gd name="T6" fmla="*/ 2559 w 2785"/>
                <a:gd name="T7" fmla="*/ 545 h 772"/>
                <a:gd name="T8" fmla="*/ 2785 w 2785"/>
                <a:gd name="T9" fmla="*/ 0 h 772"/>
                <a:gd name="T10" fmla="*/ 0 w 2785"/>
                <a:gd name="T11" fmla="*/ 0 h 772"/>
                <a:gd name="T12" fmla="*/ 226 w 2785"/>
                <a:gd name="T13" fmla="*/ 545 h 772"/>
                <a:gd name="T14" fmla="*/ 772 w 2785"/>
                <a:gd name="T15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772" y="772"/>
                  </a:moveTo>
                  <a:cubicBezTo>
                    <a:pt x="1392" y="772"/>
                    <a:pt x="1392" y="772"/>
                    <a:pt x="1392" y="772"/>
                  </a:cubicBezTo>
                  <a:cubicBezTo>
                    <a:pt x="2013" y="772"/>
                    <a:pt x="2013" y="772"/>
                    <a:pt x="2013" y="772"/>
                  </a:cubicBezTo>
                  <a:cubicBezTo>
                    <a:pt x="2226" y="772"/>
                    <a:pt x="2419" y="685"/>
                    <a:pt x="2559" y="545"/>
                  </a:cubicBezTo>
                  <a:cubicBezTo>
                    <a:pt x="2698" y="406"/>
                    <a:pt x="2785" y="213"/>
                    <a:pt x="27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86" y="406"/>
                    <a:pt x="226" y="545"/>
                  </a:cubicBezTo>
                  <a:cubicBezTo>
                    <a:pt x="366" y="685"/>
                    <a:pt x="559" y="772"/>
                    <a:pt x="772" y="772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00" name="Freeform 8">
              <a:extLst>
                <a:ext uri="{FF2B5EF4-FFF2-40B4-BE49-F238E27FC236}">
                  <a16:creationId xmlns:a16="http://schemas.microsoft.com/office/drawing/2014/main" id="{D2EE9B4D-0551-4219-BA90-6A0DF08A78C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0639" y="1380979"/>
              <a:ext cx="251999" cy="80066"/>
            </a:xfrm>
            <a:custGeom>
              <a:avLst/>
              <a:gdLst>
                <a:gd name="T0" fmla="*/ 812 w 2865"/>
                <a:gd name="T1" fmla="*/ 852 h 852"/>
                <a:gd name="T2" fmla="*/ 2053 w 2865"/>
                <a:gd name="T3" fmla="*/ 852 h 852"/>
                <a:gd name="T4" fmla="*/ 2627 w 2865"/>
                <a:gd name="T5" fmla="*/ 614 h 852"/>
                <a:gd name="T6" fmla="*/ 2865 w 2865"/>
                <a:gd name="T7" fmla="*/ 40 h 852"/>
                <a:gd name="T8" fmla="*/ 2825 w 2865"/>
                <a:gd name="T9" fmla="*/ 0 h 852"/>
                <a:gd name="T10" fmla="*/ 2785 w 2865"/>
                <a:gd name="T11" fmla="*/ 40 h 852"/>
                <a:gd name="T12" fmla="*/ 2570 w 2865"/>
                <a:gd name="T13" fmla="*/ 557 h 852"/>
                <a:gd name="T14" fmla="*/ 2053 w 2865"/>
                <a:gd name="T15" fmla="*/ 772 h 852"/>
                <a:gd name="T16" fmla="*/ 812 w 2865"/>
                <a:gd name="T17" fmla="*/ 772 h 852"/>
                <a:gd name="T18" fmla="*/ 294 w 2865"/>
                <a:gd name="T19" fmla="*/ 557 h 852"/>
                <a:gd name="T20" fmla="*/ 80 w 2865"/>
                <a:gd name="T21" fmla="*/ 40 h 852"/>
                <a:gd name="T22" fmla="*/ 40 w 2865"/>
                <a:gd name="T23" fmla="*/ 0 h 852"/>
                <a:gd name="T24" fmla="*/ 0 w 2865"/>
                <a:gd name="T25" fmla="*/ 40 h 852"/>
                <a:gd name="T26" fmla="*/ 238 w 2865"/>
                <a:gd name="T27" fmla="*/ 614 h 852"/>
                <a:gd name="T28" fmla="*/ 812 w 2865"/>
                <a:gd name="T29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12" y="852"/>
                  </a:moveTo>
                  <a:cubicBezTo>
                    <a:pt x="2053" y="852"/>
                    <a:pt x="2053" y="852"/>
                    <a:pt x="2053" y="852"/>
                  </a:cubicBezTo>
                  <a:cubicBezTo>
                    <a:pt x="2270" y="852"/>
                    <a:pt x="2474" y="767"/>
                    <a:pt x="2627" y="614"/>
                  </a:cubicBezTo>
                  <a:cubicBezTo>
                    <a:pt x="2780" y="460"/>
                    <a:pt x="2865" y="256"/>
                    <a:pt x="2865" y="40"/>
                  </a:cubicBezTo>
                  <a:cubicBezTo>
                    <a:pt x="2865" y="17"/>
                    <a:pt x="2847" y="0"/>
                    <a:pt x="2825" y="0"/>
                  </a:cubicBezTo>
                  <a:cubicBezTo>
                    <a:pt x="2803" y="0"/>
                    <a:pt x="2785" y="17"/>
                    <a:pt x="2785" y="40"/>
                  </a:cubicBezTo>
                  <a:cubicBezTo>
                    <a:pt x="2785" y="235"/>
                    <a:pt x="2709" y="419"/>
                    <a:pt x="2570" y="557"/>
                  </a:cubicBezTo>
                  <a:cubicBezTo>
                    <a:pt x="2432" y="695"/>
                    <a:pt x="2248" y="772"/>
                    <a:pt x="2053" y="772"/>
                  </a:cubicBezTo>
                  <a:cubicBezTo>
                    <a:pt x="812" y="772"/>
                    <a:pt x="812" y="772"/>
                    <a:pt x="812" y="772"/>
                  </a:cubicBezTo>
                  <a:cubicBezTo>
                    <a:pt x="616" y="772"/>
                    <a:pt x="432" y="695"/>
                    <a:pt x="294" y="557"/>
                  </a:cubicBezTo>
                  <a:cubicBezTo>
                    <a:pt x="156" y="419"/>
                    <a:pt x="80" y="235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ubicBezTo>
                    <a:pt x="18" y="0"/>
                    <a:pt x="0" y="17"/>
                    <a:pt x="0" y="40"/>
                  </a:cubicBezTo>
                  <a:cubicBezTo>
                    <a:pt x="0" y="256"/>
                    <a:pt x="84" y="460"/>
                    <a:pt x="238" y="614"/>
                  </a:cubicBezTo>
                  <a:cubicBezTo>
                    <a:pt x="391" y="767"/>
                    <a:pt x="595" y="852"/>
                    <a:pt x="812" y="85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01" name="Freeform 9">
              <a:extLst>
                <a:ext uri="{FF2B5EF4-FFF2-40B4-BE49-F238E27FC236}">
                  <a16:creationId xmlns:a16="http://schemas.microsoft.com/office/drawing/2014/main" id="{6FCC04BA-ABB5-4CDD-940F-46832465B1E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10064" y="1384737"/>
              <a:ext cx="244958" cy="72550"/>
            </a:xfrm>
            <a:custGeom>
              <a:avLst/>
              <a:gdLst>
                <a:gd name="T0" fmla="*/ 2559 w 2785"/>
                <a:gd name="T1" fmla="*/ 226 h 772"/>
                <a:gd name="T2" fmla="*/ 2013 w 2785"/>
                <a:gd name="T3" fmla="*/ 0 h 772"/>
                <a:gd name="T4" fmla="*/ 1392 w 2785"/>
                <a:gd name="T5" fmla="*/ 0 h 772"/>
                <a:gd name="T6" fmla="*/ 772 w 2785"/>
                <a:gd name="T7" fmla="*/ 0 h 772"/>
                <a:gd name="T8" fmla="*/ 226 w 2785"/>
                <a:gd name="T9" fmla="*/ 226 h 772"/>
                <a:gd name="T10" fmla="*/ 0 w 2785"/>
                <a:gd name="T11" fmla="*/ 772 h 772"/>
                <a:gd name="T12" fmla="*/ 2785 w 2785"/>
                <a:gd name="T13" fmla="*/ 772 h 772"/>
                <a:gd name="T14" fmla="*/ 2559 w 2785"/>
                <a:gd name="T15" fmla="*/ 226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2559" y="226"/>
                  </a:move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02" name="Freeform 10">
              <a:extLst>
                <a:ext uri="{FF2B5EF4-FFF2-40B4-BE49-F238E27FC236}">
                  <a16:creationId xmlns:a16="http://schemas.microsoft.com/office/drawing/2014/main" id="{A992F689-351A-44AB-AFF5-3AA05B4098C3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06542" y="1381141"/>
              <a:ext cx="251999" cy="79741"/>
            </a:xfrm>
            <a:custGeom>
              <a:avLst/>
              <a:gdLst>
                <a:gd name="T0" fmla="*/ 80 w 2865"/>
                <a:gd name="T1" fmla="*/ 812 h 852"/>
                <a:gd name="T2" fmla="*/ 294 w 2865"/>
                <a:gd name="T3" fmla="*/ 294 h 852"/>
                <a:gd name="T4" fmla="*/ 812 w 2865"/>
                <a:gd name="T5" fmla="*/ 80 h 852"/>
                <a:gd name="T6" fmla="*/ 2053 w 2865"/>
                <a:gd name="T7" fmla="*/ 80 h 852"/>
                <a:gd name="T8" fmla="*/ 2570 w 2865"/>
                <a:gd name="T9" fmla="*/ 294 h 852"/>
                <a:gd name="T10" fmla="*/ 2785 w 2865"/>
                <a:gd name="T11" fmla="*/ 812 h 852"/>
                <a:gd name="T12" fmla="*/ 2825 w 2865"/>
                <a:gd name="T13" fmla="*/ 852 h 852"/>
                <a:gd name="T14" fmla="*/ 2865 w 2865"/>
                <a:gd name="T15" fmla="*/ 812 h 852"/>
                <a:gd name="T16" fmla="*/ 2627 w 2865"/>
                <a:gd name="T17" fmla="*/ 238 h 852"/>
                <a:gd name="T18" fmla="*/ 2053 w 2865"/>
                <a:gd name="T19" fmla="*/ 0 h 852"/>
                <a:gd name="T20" fmla="*/ 812 w 2865"/>
                <a:gd name="T21" fmla="*/ 0 h 852"/>
                <a:gd name="T22" fmla="*/ 238 w 2865"/>
                <a:gd name="T23" fmla="*/ 238 h 852"/>
                <a:gd name="T24" fmla="*/ 0 w 2865"/>
                <a:gd name="T25" fmla="*/ 812 h 852"/>
                <a:gd name="T26" fmla="*/ 40 w 2865"/>
                <a:gd name="T27" fmla="*/ 852 h 852"/>
                <a:gd name="T28" fmla="*/ 80 w 2865"/>
                <a:gd name="T29" fmla="*/ 81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0" y="812"/>
                  </a:moveTo>
                  <a:cubicBezTo>
                    <a:pt x="80" y="616"/>
                    <a:pt x="156" y="432"/>
                    <a:pt x="294" y="294"/>
                  </a:cubicBezTo>
                  <a:cubicBezTo>
                    <a:pt x="432" y="156"/>
                    <a:pt x="616" y="80"/>
                    <a:pt x="812" y="80"/>
                  </a:cubicBezTo>
                  <a:cubicBezTo>
                    <a:pt x="2053" y="80"/>
                    <a:pt x="2053" y="80"/>
                    <a:pt x="2053" y="80"/>
                  </a:cubicBezTo>
                  <a:cubicBezTo>
                    <a:pt x="2248" y="80"/>
                    <a:pt x="2432" y="156"/>
                    <a:pt x="2570" y="294"/>
                  </a:cubicBezTo>
                  <a:cubicBezTo>
                    <a:pt x="2709" y="432"/>
                    <a:pt x="2785" y="616"/>
                    <a:pt x="2785" y="812"/>
                  </a:cubicBezTo>
                  <a:cubicBezTo>
                    <a:pt x="2785" y="834"/>
                    <a:pt x="2803" y="852"/>
                    <a:pt x="2825" y="852"/>
                  </a:cubicBezTo>
                  <a:cubicBezTo>
                    <a:pt x="2847" y="852"/>
                    <a:pt x="2865" y="834"/>
                    <a:pt x="2865" y="812"/>
                  </a:cubicBezTo>
                  <a:cubicBezTo>
                    <a:pt x="2865" y="595"/>
                    <a:pt x="2780" y="391"/>
                    <a:pt x="2627" y="238"/>
                  </a:cubicBezTo>
                  <a:cubicBezTo>
                    <a:pt x="2474" y="84"/>
                    <a:pt x="2270" y="0"/>
                    <a:pt x="2053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95" y="0"/>
                    <a:pt x="391" y="84"/>
                    <a:pt x="238" y="238"/>
                  </a:cubicBezTo>
                  <a:cubicBezTo>
                    <a:pt x="84" y="391"/>
                    <a:pt x="0" y="595"/>
                    <a:pt x="0" y="812"/>
                  </a:cubicBezTo>
                  <a:cubicBezTo>
                    <a:pt x="0" y="834"/>
                    <a:pt x="18" y="852"/>
                    <a:pt x="40" y="852"/>
                  </a:cubicBezTo>
                  <a:cubicBezTo>
                    <a:pt x="62" y="852"/>
                    <a:pt x="80" y="834"/>
                    <a:pt x="80" y="81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id="{2DF715C3-DDE0-43EB-B592-37FC220B450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926776" y="1337975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id="{69BEB975-31B4-4BCB-A8E8-C27C1BAB1E2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37615" y="1337975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id="{AE546DE2-B5F1-4C0D-9A1F-E53835CF3E2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48455" y="1337975"/>
              <a:ext cx="173490" cy="166072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</p:grpSp>
      <p:grpSp>
        <p:nvGrpSpPr>
          <p:cNvPr id="206" name="Group 205">
            <a:extLst>
              <a:ext uri="{FF2B5EF4-FFF2-40B4-BE49-F238E27FC236}">
                <a16:creationId xmlns:a16="http://schemas.microsoft.com/office/drawing/2014/main" id="{75E606A8-D866-4108-AEF9-BD9D1D8CD418}"/>
              </a:ext>
            </a:extLst>
          </p:cNvPr>
          <p:cNvGrpSpPr/>
          <p:nvPr/>
        </p:nvGrpSpPr>
        <p:grpSpPr>
          <a:xfrm>
            <a:off x="7860014" y="2614056"/>
            <a:ext cx="694074" cy="259025"/>
            <a:chOff x="7892671" y="2617569"/>
            <a:chExt cx="694074" cy="259025"/>
          </a:xfrm>
        </p:grpSpPr>
        <p:sp>
          <p:nvSpPr>
            <p:cNvPr id="207" name="Freeform 6">
              <a:extLst>
                <a:ext uri="{FF2B5EF4-FFF2-40B4-BE49-F238E27FC236}">
                  <a16:creationId xmlns:a16="http://schemas.microsoft.com/office/drawing/2014/main" id="{B372C025-46CB-40D5-AE36-26F54597924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25862" y="2415710"/>
              <a:ext cx="244958" cy="676809"/>
            </a:xfrm>
            <a:custGeom>
              <a:avLst/>
              <a:gdLst>
                <a:gd name="T0" fmla="*/ 772 w 2785"/>
                <a:gd name="T1" fmla="*/ 7211 h 7211"/>
                <a:gd name="T2" fmla="*/ 1392 w 2785"/>
                <a:gd name="T3" fmla="*/ 7211 h 7211"/>
                <a:gd name="T4" fmla="*/ 2013 w 2785"/>
                <a:gd name="T5" fmla="*/ 7211 h 7211"/>
                <a:gd name="T6" fmla="*/ 2559 w 2785"/>
                <a:gd name="T7" fmla="*/ 6984 h 7211"/>
                <a:gd name="T8" fmla="*/ 2785 w 2785"/>
                <a:gd name="T9" fmla="*/ 6439 h 7211"/>
                <a:gd name="T10" fmla="*/ 2785 w 2785"/>
                <a:gd name="T11" fmla="*/ 3605 h 7211"/>
                <a:gd name="T12" fmla="*/ 2785 w 2785"/>
                <a:gd name="T13" fmla="*/ 772 h 7211"/>
                <a:gd name="T14" fmla="*/ 2559 w 2785"/>
                <a:gd name="T15" fmla="*/ 226 h 7211"/>
                <a:gd name="T16" fmla="*/ 2013 w 2785"/>
                <a:gd name="T17" fmla="*/ 0 h 7211"/>
                <a:gd name="T18" fmla="*/ 1392 w 2785"/>
                <a:gd name="T19" fmla="*/ 0 h 7211"/>
                <a:gd name="T20" fmla="*/ 772 w 2785"/>
                <a:gd name="T21" fmla="*/ 0 h 7211"/>
                <a:gd name="T22" fmla="*/ 226 w 2785"/>
                <a:gd name="T23" fmla="*/ 226 h 7211"/>
                <a:gd name="T24" fmla="*/ 0 w 2785"/>
                <a:gd name="T25" fmla="*/ 772 h 7211"/>
                <a:gd name="T26" fmla="*/ 0 w 2785"/>
                <a:gd name="T27" fmla="*/ 3605 h 7211"/>
                <a:gd name="T28" fmla="*/ 0 w 2785"/>
                <a:gd name="T29" fmla="*/ 6439 h 7211"/>
                <a:gd name="T30" fmla="*/ 226 w 2785"/>
                <a:gd name="T31" fmla="*/ 6984 h 7211"/>
                <a:gd name="T32" fmla="*/ 772 w 2785"/>
                <a:gd name="T33" fmla="*/ 7211 h 7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5" h="7211">
                  <a:moveTo>
                    <a:pt x="772" y="7211"/>
                  </a:moveTo>
                  <a:cubicBezTo>
                    <a:pt x="1392" y="7211"/>
                    <a:pt x="1392" y="7211"/>
                    <a:pt x="1392" y="7211"/>
                  </a:cubicBezTo>
                  <a:cubicBezTo>
                    <a:pt x="2013" y="7211"/>
                    <a:pt x="2013" y="7211"/>
                    <a:pt x="2013" y="7211"/>
                  </a:cubicBezTo>
                  <a:cubicBezTo>
                    <a:pt x="2226" y="7211"/>
                    <a:pt x="2419" y="7124"/>
                    <a:pt x="2559" y="6984"/>
                  </a:cubicBezTo>
                  <a:cubicBezTo>
                    <a:pt x="2698" y="6845"/>
                    <a:pt x="2785" y="6652"/>
                    <a:pt x="2785" y="6439"/>
                  </a:cubicBezTo>
                  <a:cubicBezTo>
                    <a:pt x="2785" y="3605"/>
                    <a:pt x="2785" y="3605"/>
                    <a:pt x="2785" y="3605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0" y="3605"/>
                    <a:pt x="0" y="3605"/>
                    <a:pt x="0" y="3605"/>
                  </a:cubicBezTo>
                  <a:cubicBezTo>
                    <a:pt x="0" y="6439"/>
                    <a:pt x="0" y="6439"/>
                    <a:pt x="0" y="6439"/>
                  </a:cubicBezTo>
                  <a:cubicBezTo>
                    <a:pt x="0" y="6652"/>
                    <a:pt x="86" y="6845"/>
                    <a:pt x="226" y="6984"/>
                  </a:cubicBezTo>
                  <a:cubicBezTo>
                    <a:pt x="366" y="7124"/>
                    <a:pt x="559" y="7211"/>
                    <a:pt x="772" y="7211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08" name="Freeform 7">
              <a:extLst>
                <a:ext uri="{FF2B5EF4-FFF2-40B4-BE49-F238E27FC236}">
                  <a16:creationId xmlns:a16="http://schemas.microsoft.com/office/drawing/2014/main" id="{6A778B27-0302-425B-97BF-48E089D752F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4323" y="2707294"/>
              <a:ext cx="244958" cy="72550"/>
            </a:xfrm>
            <a:custGeom>
              <a:avLst/>
              <a:gdLst>
                <a:gd name="T0" fmla="*/ 772 w 2785"/>
                <a:gd name="T1" fmla="*/ 772 h 772"/>
                <a:gd name="T2" fmla="*/ 1392 w 2785"/>
                <a:gd name="T3" fmla="*/ 772 h 772"/>
                <a:gd name="T4" fmla="*/ 2013 w 2785"/>
                <a:gd name="T5" fmla="*/ 772 h 772"/>
                <a:gd name="T6" fmla="*/ 2559 w 2785"/>
                <a:gd name="T7" fmla="*/ 545 h 772"/>
                <a:gd name="T8" fmla="*/ 2785 w 2785"/>
                <a:gd name="T9" fmla="*/ 0 h 772"/>
                <a:gd name="T10" fmla="*/ 0 w 2785"/>
                <a:gd name="T11" fmla="*/ 0 h 772"/>
                <a:gd name="T12" fmla="*/ 226 w 2785"/>
                <a:gd name="T13" fmla="*/ 545 h 772"/>
                <a:gd name="T14" fmla="*/ 772 w 2785"/>
                <a:gd name="T15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772" y="772"/>
                  </a:moveTo>
                  <a:cubicBezTo>
                    <a:pt x="1392" y="772"/>
                    <a:pt x="1392" y="772"/>
                    <a:pt x="1392" y="772"/>
                  </a:cubicBezTo>
                  <a:cubicBezTo>
                    <a:pt x="2013" y="772"/>
                    <a:pt x="2013" y="772"/>
                    <a:pt x="2013" y="772"/>
                  </a:cubicBezTo>
                  <a:cubicBezTo>
                    <a:pt x="2226" y="772"/>
                    <a:pt x="2419" y="685"/>
                    <a:pt x="2559" y="545"/>
                  </a:cubicBezTo>
                  <a:cubicBezTo>
                    <a:pt x="2698" y="406"/>
                    <a:pt x="2785" y="213"/>
                    <a:pt x="27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86" y="406"/>
                    <a:pt x="226" y="545"/>
                  </a:cubicBezTo>
                  <a:cubicBezTo>
                    <a:pt x="366" y="685"/>
                    <a:pt x="559" y="772"/>
                    <a:pt x="772" y="772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09" name="Freeform 8">
              <a:extLst>
                <a:ext uri="{FF2B5EF4-FFF2-40B4-BE49-F238E27FC236}">
                  <a16:creationId xmlns:a16="http://schemas.microsoft.com/office/drawing/2014/main" id="{1CEF892A-8448-47CF-8E26-9B488717ADE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0639" y="2703536"/>
              <a:ext cx="251999" cy="80066"/>
            </a:xfrm>
            <a:custGeom>
              <a:avLst/>
              <a:gdLst>
                <a:gd name="T0" fmla="*/ 812 w 2865"/>
                <a:gd name="T1" fmla="*/ 852 h 852"/>
                <a:gd name="T2" fmla="*/ 2053 w 2865"/>
                <a:gd name="T3" fmla="*/ 852 h 852"/>
                <a:gd name="T4" fmla="*/ 2627 w 2865"/>
                <a:gd name="T5" fmla="*/ 614 h 852"/>
                <a:gd name="T6" fmla="*/ 2865 w 2865"/>
                <a:gd name="T7" fmla="*/ 40 h 852"/>
                <a:gd name="T8" fmla="*/ 2825 w 2865"/>
                <a:gd name="T9" fmla="*/ 0 h 852"/>
                <a:gd name="T10" fmla="*/ 2785 w 2865"/>
                <a:gd name="T11" fmla="*/ 40 h 852"/>
                <a:gd name="T12" fmla="*/ 2570 w 2865"/>
                <a:gd name="T13" fmla="*/ 557 h 852"/>
                <a:gd name="T14" fmla="*/ 2053 w 2865"/>
                <a:gd name="T15" fmla="*/ 772 h 852"/>
                <a:gd name="T16" fmla="*/ 812 w 2865"/>
                <a:gd name="T17" fmla="*/ 772 h 852"/>
                <a:gd name="T18" fmla="*/ 294 w 2865"/>
                <a:gd name="T19" fmla="*/ 557 h 852"/>
                <a:gd name="T20" fmla="*/ 80 w 2865"/>
                <a:gd name="T21" fmla="*/ 40 h 852"/>
                <a:gd name="T22" fmla="*/ 40 w 2865"/>
                <a:gd name="T23" fmla="*/ 0 h 852"/>
                <a:gd name="T24" fmla="*/ 0 w 2865"/>
                <a:gd name="T25" fmla="*/ 40 h 852"/>
                <a:gd name="T26" fmla="*/ 238 w 2865"/>
                <a:gd name="T27" fmla="*/ 614 h 852"/>
                <a:gd name="T28" fmla="*/ 812 w 2865"/>
                <a:gd name="T29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12" y="852"/>
                  </a:moveTo>
                  <a:cubicBezTo>
                    <a:pt x="2053" y="852"/>
                    <a:pt x="2053" y="852"/>
                    <a:pt x="2053" y="852"/>
                  </a:cubicBezTo>
                  <a:cubicBezTo>
                    <a:pt x="2270" y="852"/>
                    <a:pt x="2474" y="767"/>
                    <a:pt x="2627" y="614"/>
                  </a:cubicBezTo>
                  <a:cubicBezTo>
                    <a:pt x="2780" y="460"/>
                    <a:pt x="2865" y="256"/>
                    <a:pt x="2865" y="40"/>
                  </a:cubicBezTo>
                  <a:cubicBezTo>
                    <a:pt x="2865" y="17"/>
                    <a:pt x="2847" y="0"/>
                    <a:pt x="2825" y="0"/>
                  </a:cubicBezTo>
                  <a:cubicBezTo>
                    <a:pt x="2803" y="0"/>
                    <a:pt x="2785" y="17"/>
                    <a:pt x="2785" y="40"/>
                  </a:cubicBezTo>
                  <a:cubicBezTo>
                    <a:pt x="2785" y="235"/>
                    <a:pt x="2709" y="419"/>
                    <a:pt x="2570" y="557"/>
                  </a:cubicBezTo>
                  <a:cubicBezTo>
                    <a:pt x="2432" y="695"/>
                    <a:pt x="2248" y="772"/>
                    <a:pt x="2053" y="772"/>
                  </a:cubicBezTo>
                  <a:cubicBezTo>
                    <a:pt x="812" y="772"/>
                    <a:pt x="812" y="772"/>
                    <a:pt x="812" y="772"/>
                  </a:cubicBezTo>
                  <a:cubicBezTo>
                    <a:pt x="616" y="772"/>
                    <a:pt x="432" y="695"/>
                    <a:pt x="294" y="557"/>
                  </a:cubicBezTo>
                  <a:cubicBezTo>
                    <a:pt x="156" y="419"/>
                    <a:pt x="80" y="235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ubicBezTo>
                    <a:pt x="18" y="0"/>
                    <a:pt x="0" y="17"/>
                    <a:pt x="0" y="40"/>
                  </a:cubicBezTo>
                  <a:cubicBezTo>
                    <a:pt x="0" y="256"/>
                    <a:pt x="84" y="460"/>
                    <a:pt x="238" y="614"/>
                  </a:cubicBezTo>
                  <a:cubicBezTo>
                    <a:pt x="391" y="767"/>
                    <a:pt x="595" y="852"/>
                    <a:pt x="812" y="85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10" name="Freeform 9">
              <a:extLst>
                <a:ext uri="{FF2B5EF4-FFF2-40B4-BE49-F238E27FC236}">
                  <a16:creationId xmlns:a16="http://schemas.microsoft.com/office/drawing/2014/main" id="{78C6295D-F607-44AE-9FD1-29B3D89DF2B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10064" y="2707294"/>
              <a:ext cx="244958" cy="72550"/>
            </a:xfrm>
            <a:custGeom>
              <a:avLst/>
              <a:gdLst>
                <a:gd name="T0" fmla="*/ 2559 w 2785"/>
                <a:gd name="T1" fmla="*/ 226 h 772"/>
                <a:gd name="T2" fmla="*/ 2013 w 2785"/>
                <a:gd name="T3" fmla="*/ 0 h 772"/>
                <a:gd name="T4" fmla="*/ 1392 w 2785"/>
                <a:gd name="T5" fmla="*/ 0 h 772"/>
                <a:gd name="T6" fmla="*/ 772 w 2785"/>
                <a:gd name="T7" fmla="*/ 0 h 772"/>
                <a:gd name="T8" fmla="*/ 226 w 2785"/>
                <a:gd name="T9" fmla="*/ 226 h 772"/>
                <a:gd name="T10" fmla="*/ 0 w 2785"/>
                <a:gd name="T11" fmla="*/ 772 h 772"/>
                <a:gd name="T12" fmla="*/ 2785 w 2785"/>
                <a:gd name="T13" fmla="*/ 772 h 772"/>
                <a:gd name="T14" fmla="*/ 2559 w 2785"/>
                <a:gd name="T15" fmla="*/ 226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2559" y="226"/>
                  </a:move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11" name="Freeform 10">
              <a:extLst>
                <a:ext uri="{FF2B5EF4-FFF2-40B4-BE49-F238E27FC236}">
                  <a16:creationId xmlns:a16="http://schemas.microsoft.com/office/drawing/2014/main" id="{65D692D7-48BD-41B1-9DD6-33F687CD2D70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06542" y="2703698"/>
              <a:ext cx="251999" cy="79741"/>
            </a:xfrm>
            <a:custGeom>
              <a:avLst/>
              <a:gdLst>
                <a:gd name="T0" fmla="*/ 80 w 2865"/>
                <a:gd name="T1" fmla="*/ 812 h 852"/>
                <a:gd name="T2" fmla="*/ 294 w 2865"/>
                <a:gd name="T3" fmla="*/ 294 h 852"/>
                <a:gd name="T4" fmla="*/ 812 w 2865"/>
                <a:gd name="T5" fmla="*/ 80 h 852"/>
                <a:gd name="T6" fmla="*/ 2053 w 2865"/>
                <a:gd name="T7" fmla="*/ 80 h 852"/>
                <a:gd name="T8" fmla="*/ 2570 w 2865"/>
                <a:gd name="T9" fmla="*/ 294 h 852"/>
                <a:gd name="T10" fmla="*/ 2785 w 2865"/>
                <a:gd name="T11" fmla="*/ 812 h 852"/>
                <a:gd name="T12" fmla="*/ 2825 w 2865"/>
                <a:gd name="T13" fmla="*/ 852 h 852"/>
                <a:gd name="T14" fmla="*/ 2865 w 2865"/>
                <a:gd name="T15" fmla="*/ 812 h 852"/>
                <a:gd name="T16" fmla="*/ 2627 w 2865"/>
                <a:gd name="T17" fmla="*/ 238 h 852"/>
                <a:gd name="T18" fmla="*/ 2053 w 2865"/>
                <a:gd name="T19" fmla="*/ 0 h 852"/>
                <a:gd name="T20" fmla="*/ 812 w 2865"/>
                <a:gd name="T21" fmla="*/ 0 h 852"/>
                <a:gd name="T22" fmla="*/ 238 w 2865"/>
                <a:gd name="T23" fmla="*/ 238 h 852"/>
                <a:gd name="T24" fmla="*/ 0 w 2865"/>
                <a:gd name="T25" fmla="*/ 812 h 852"/>
                <a:gd name="T26" fmla="*/ 40 w 2865"/>
                <a:gd name="T27" fmla="*/ 852 h 852"/>
                <a:gd name="T28" fmla="*/ 80 w 2865"/>
                <a:gd name="T29" fmla="*/ 81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0" y="812"/>
                  </a:moveTo>
                  <a:cubicBezTo>
                    <a:pt x="80" y="616"/>
                    <a:pt x="156" y="432"/>
                    <a:pt x="294" y="294"/>
                  </a:cubicBezTo>
                  <a:cubicBezTo>
                    <a:pt x="432" y="156"/>
                    <a:pt x="616" y="80"/>
                    <a:pt x="812" y="80"/>
                  </a:cubicBezTo>
                  <a:cubicBezTo>
                    <a:pt x="2053" y="80"/>
                    <a:pt x="2053" y="80"/>
                    <a:pt x="2053" y="80"/>
                  </a:cubicBezTo>
                  <a:cubicBezTo>
                    <a:pt x="2248" y="80"/>
                    <a:pt x="2432" y="156"/>
                    <a:pt x="2570" y="294"/>
                  </a:cubicBezTo>
                  <a:cubicBezTo>
                    <a:pt x="2709" y="432"/>
                    <a:pt x="2785" y="616"/>
                    <a:pt x="2785" y="812"/>
                  </a:cubicBezTo>
                  <a:cubicBezTo>
                    <a:pt x="2785" y="834"/>
                    <a:pt x="2803" y="852"/>
                    <a:pt x="2825" y="852"/>
                  </a:cubicBezTo>
                  <a:cubicBezTo>
                    <a:pt x="2847" y="852"/>
                    <a:pt x="2865" y="834"/>
                    <a:pt x="2865" y="812"/>
                  </a:cubicBezTo>
                  <a:cubicBezTo>
                    <a:pt x="2865" y="595"/>
                    <a:pt x="2780" y="391"/>
                    <a:pt x="2627" y="238"/>
                  </a:cubicBezTo>
                  <a:cubicBezTo>
                    <a:pt x="2474" y="84"/>
                    <a:pt x="2270" y="0"/>
                    <a:pt x="2053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95" y="0"/>
                    <a:pt x="391" y="84"/>
                    <a:pt x="238" y="238"/>
                  </a:cubicBezTo>
                  <a:cubicBezTo>
                    <a:pt x="84" y="391"/>
                    <a:pt x="0" y="595"/>
                    <a:pt x="0" y="812"/>
                  </a:cubicBezTo>
                  <a:cubicBezTo>
                    <a:pt x="0" y="834"/>
                    <a:pt x="18" y="852"/>
                    <a:pt x="40" y="852"/>
                  </a:cubicBezTo>
                  <a:cubicBezTo>
                    <a:pt x="62" y="852"/>
                    <a:pt x="80" y="834"/>
                    <a:pt x="80" y="81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id="{CCB11BF0-7C1B-4E1E-BBAB-F47576C4540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926776" y="2660532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D2354DCC-BFA4-4232-9039-4EE3F5011B84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37615" y="2660532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8552130C-0707-41D9-A442-07660C963B7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48455" y="2660532"/>
              <a:ext cx="173490" cy="166072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</p:grp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28C76A46-85BC-492D-BAF8-17F2227D9EF3}"/>
              </a:ext>
            </a:extLst>
          </p:cNvPr>
          <p:cNvGrpSpPr/>
          <p:nvPr/>
        </p:nvGrpSpPr>
        <p:grpSpPr>
          <a:xfrm>
            <a:off x="7860014" y="3252891"/>
            <a:ext cx="696734" cy="252000"/>
            <a:chOff x="7879938" y="3247202"/>
            <a:chExt cx="696734" cy="252000"/>
          </a:xfrm>
        </p:grpSpPr>
        <p:sp>
          <p:nvSpPr>
            <p:cNvPr id="217" name="Freeform 6">
              <a:extLst>
                <a:ext uri="{FF2B5EF4-FFF2-40B4-BE49-F238E27FC236}">
                  <a16:creationId xmlns:a16="http://schemas.microsoft.com/office/drawing/2014/main" id="{B40BEB69-3A54-4943-8CDF-CF5F4CA4B1C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095864" y="3031276"/>
              <a:ext cx="244958" cy="676809"/>
            </a:xfrm>
            <a:custGeom>
              <a:avLst/>
              <a:gdLst>
                <a:gd name="T0" fmla="*/ 772 w 2785"/>
                <a:gd name="T1" fmla="*/ 7211 h 7211"/>
                <a:gd name="T2" fmla="*/ 1392 w 2785"/>
                <a:gd name="T3" fmla="*/ 7211 h 7211"/>
                <a:gd name="T4" fmla="*/ 2013 w 2785"/>
                <a:gd name="T5" fmla="*/ 7211 h 7211"/>
                <a:gd name="T6" fmla="*/ 2559 w 2785"/>
                <a:gd name="T7" fmla="*/ 6984 h 7211"/>
                <a:gd name="T8" fmla="*/ 2785 w 2785"/>
                <a:gd name="T9" fmla="*/ 6439 h 7211"/>
                <a:gd name="T10" fmla="*/ 2785 w 2785"/>
                <a:gd name="T11" fmla="*/ 3605 h 7211"/>
                <a:gd name="T12" fmla="*/ 2785 w 2785"/>
                <a:gd name="T13" fmla="*/ 772 h 7211"/>
                <a:gd name="T14" fmla="*/ 2559 w 2785"/>
                <a:gd name="T15" fmla="*/ 226 h 7211"/>
                <a:gd name="T16" fmla="*/ 2013 w 2785"/>
                <a:gd name="T17" fmla="*/ 0 h 7211"/>
                <a:gd name="T18" fmla="*/ 1392 w 2785"/>
                <a:gd name="T19" fmla="*/ 0 h 7211"/>
                <a:gd name="T20" fmla="*/ 772 w 2785"/>
                <a:gd name="T21" fmla="*/ 0 h 7211"/>
                <a:gd name="T22" fmla="*/ 226 w 2785"/>
                <a:gd name="T23" fmla="*/ 226 h 7211"/>
                <a:gd name="T24" fmla="*/ 0 w 2785"/>
                <a:gd name="T25" fmla="*/ 772 h 7211"/>
                <a:gd name="T26" fmla="*/ 0 w 2785"/>
                <a:gd name="T27" fmla="*/ 3605 h 7211"/>
                <a:gd name="T28" fmla="*/ 0 w 2785"/>
                <a:gd name="T29" fmla="*/ 6439 h 7211"/>
                <a:gd name="T30" fmla="*/ 226 w 2785"/>
                <a:gd name="T31" fmla="*/ 6984 h 7211"/>
                <a:gd name="T32" fmla="*/ 772 w 2785"/>
                <a:gd name="T33" fmla="*/ 7211 h 7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5" h="7211">
                  <a:moveTo>
                    <a:pt x="772" y="7211"/>
                  </a:moveTo>
                  <a:cubicBezTo>
                    <a:pt x="1392" y="7211"/>
                    <a:pt x="1392" y="7211"/>
                    <a:pt x="1392" y="7211"/>
                  </a:cubicBezTo>
                  <a:cubicBezTo>
                    <a:pt x="2013" y="7211"/>
                    <a:pt x="2013" y="7211"/>
                    <a:pt x="2013" y="7211"/>
                  </a:cubicBezTo>
                  <a:cubicBezTo>
                    <a:pt x="2226" y="7211"/>
                    <a:pt x="2419" y="7124"/>
                    <a:pt x="2559" y="6984"/>
                  </a:cubicBezTo>
                  <a:cubicBezTo>
                    <a:pt x="2698" y="6845"/>
                    <a:pt x="2785" y="6652"/>
                    <a:pt x="2785" y="6439"/>
                  </a:cubicBezTo>
                  <a:cubicBezTo>
                    <a:pt x="2785" y="3605"/>
                    <a:pt x="2785" y="3605"/>
                    <a:pt x="2785" y="3605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0" y="3605"/>
                    <a:pt x="0" y="3605"/>
                    <a:pt x="0" y="3605"/>
                  </a:cubicBezTo>
                  <a:cubicBezTo>
                    <a:pt x="0" y="6439"/>
                    <a:pt x="0" y="6439"/>
                    <a:pt x="0" y="6439"/>
                  </a:cubicBezTo>
                  <a:cubicBezTo>
                    <a:pt x="0" y="6652"/>
                    <a:pt x="86" y="6845"/>
                    <a:pt x="226" y="6984"/>
                  </a:cubicBezTo>
                  <a:cubicBezTo>
                    <a:pt x="366" y="7124"/>
                    <a:pt x="559" y="7211"/>
                    <a:pt x="772" y="7211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18" name="Freeform 7">
              <a:extLst>
                <a:ext uri="{FF2B5EF4-FFF2-40B4-BE49-F238E27FC236}">
                  <a16:creationId xmlns:a16="http://schemas.microsoft.com/office/drawing/2014/main" id="{5CB7F273-8CA9-4922-BEA2-5A4257836CF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4323" y="3336928"/>
              <a:ext cx="244958" cy="72550"/>
            </a:xfrm>
            <a:custGeom>
              <a:avLst/>
              <a:gdLst>
                <a:gd name="T0" fmla="*/ 772 w 2785"/>
                <a:gd name="T1" fmla="*/ 772 h 772"/>
                <a:gd name="T2" fmla="*/ 1392 w 2785"/>
                <a:gd name="T3" fmla="*/ 772 h 772"/>
                <a:gd name="T4" fmla="*/ 2013 w 2785"/>
                <a:gd name="T5" fmla="*/ 772 h 772"/>
                <a:gd name="T6" fmla="*/ 2559 w 2785"/>
                <a:gd name="T7" fmla="*/ 545 h 772"/>
                <a:gd name="T8" fmla="*/ 2785 w 2785"/>
                <a:gd name="T9" fmla="*/ 0 h 772"/>
                <a:gd name="T10" fmla="*/ 0 w 2785"/>
                <a:gd name="T11" fmla="*/ 0 h 772"/>
                <a:gd name="T12" fmla="*/ 226 w 2785"/>
                <a:gd name="T13" fmla="*/ 545 h 772"/>
                <a:gd name="T14" fmla="*/ 772 w 2785"/>
                <a:gd name="T15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772" y="772"/>
                  </a:moveTo>
                  <a:cubicBezTo>
                    <a:pt x="1392" y="772"/>
                    <a:pt x="1392" y="772"/>
                    <a:pt x="1392" y="772"/>
                  </a:cubicBezTo>
                  <a:cubicBezTo>
                    <a:pt x="2013" y="772"/>
                    <a:pt x="2013" y="772"/>
                    <a:pt x="2013" y="772"/>
                  </a:cubicBezTo>
                  <a:cubicBezTo>
                    <a:pt x="2226" y="772"/>
                    <a:pt x="2419" y="685"/>
                    <a:pt x="2559" y="545"/>
                  </a:cubicBezTo>
                  <a:cubicBezTo>
                    <a:pt x="2698" y="406"/>
                    <a:pt x="2785" y="213"/>
                    <a:pt x="27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86" y="406"/>
                    <a:pt x="226" y="545"/>
                  </a:cubicBezTo>
                  <a:cubicBezTo>
                    <a:pt x="366" y="685"/>
                    <a:pt x="559" y="772"/>
                    <a:pt x="772" y="772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20" name="Freeform 8">
              <a:extLst>
                <a:ext uri="{FF2B5EF4-FFF2-40B4-BE49-F238E27FC236}">
                  <a16:creationId xmlns:a16="http://schemas.microsoft.com/office/drawing/2014/main" id="{B1015D34-1489-477A-81F9-1902388FABC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0639" y="3333170"/>
              <a:ext cx="251999" cy="80066"/>
            </a:xfrm>
            <a:custGeom>
              <a:avLst/>
              <a:gdLst>
                <a:gd name="T0" fmla="*/ 812 w 2865"/>
                <a:gd name="T1" fmla="*/ 852 h 852"/>
                <a:gd name="T2" fmla="*/ 2053 w 2865"/>
                <a:gd name="T3" fmla="*/ 852 h 852"/>
                <a:gd name="T4" fmla="*/ 2627 w 2865"/>
                <a:gd name="T5" fmla="*/ 614 h 852"/>
                <a:gd name="T6" fmla="*/ 2865 w 2865"/>
                <a:gd name="T7" fmla="*/ 40 h 852"/>
                <a:gd name="T8" fmla="*/ 2825 w 2865"/>
                <a:gd name="T9" fmla="*/ 0 h 852"/>
                <a:gd name="T10" fmla="*/ 2785 w 2865"/>
                <a:gd name="T11" fmla="*/ 40 h 852"/>
                <a:gd name="T12" fmla="*/ 2570 w 2865"/>
                <a:gd name="T13" fmla="*/ 557 h 852"/>
                <a:gd name="T14" fmla="*/ 2053 w 2865"/>
                <a:gd name="T15" fmla="*/ 772 h 852"/>
                <a:gd name="T16" fmla="*/ 812 w 2865"/>
                <a:gd name="T17" fmla="*/ 772 h 852"/>
                <a:gd name="T18" fmla="*/ 294 w 2865"/>
                <a:gd name="T19" fmla="*/ 557 h 852"/>
                <a:gd name="T20" fmla="*/ 80 w 2865"/>
                <a:gd name="T21" fmla="*/ 40 h 852"/>
                <a:gd name="T22" fmla="*/ 40 w 2865"/>
                <a:gd name="T23" fmla="*/ 0 h 852"/>
                <a:gd name="T24" fmla="*/ 0 w 2865"/>
                <a:gd name="T25" fmla="*/ 40 h 852"/>
                <a:gd name="T26" fmla="*/ 238 w 2865"/>
                <a:gd name="T27" fmla="*/ 614 h 852"/>
                <a:gd name="T28" fmla="*/ 812 w 2865"/>
                <a:gd name="T29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12" y="852"/>
                  </a:moveTo>
                  <a:cubicBezTo>
                    <a:pt x="2053" y="852"/>
                    <a:pt x="2053" y="852"/>
                    <a:pt x="2053" y="852"/>
                  </a:cubicBezTo>
                  <a:cubicBezTo>
                    <a:pt x="2270" y="852"/>
                    <a:pt x="2474" y="767"/>
                    <a:pt x="2627" y="614"/>
                  </a:cubicBezTo>
                  <a:cubicBezTo>
                    <a:pt x="2780" y="460"/>
                    <a:pt x="2865" y="256"/>
                    <a:pt x="2865" y="40"/>
                  </a:cubicBezTo>
                  <a:cubicBezTo>
                    <a:pt x="2865" y="17"/>
                    <a:pt x="2847" y="0"/>
                    <a:pt x="2825" y="0"/>
                  </a:cubicBezTo>
                  <a:cubicBezTo>
                    <a:pt x="2803" y="0"/>
                    <a:pt x="2785" y="17"/>
                    <a:pt x="2785" y="40"/>
                  </a:cubicBezTo>
                  <a:cubicBezTo>
                    <a:pt x="2785" y="235"/>
                    <a:pt x="2709" y="419"/>
                    <a:pt x="2570" y="557"/>
                  </a:cubicBezTo>
                  <a:cubicBezTo>
                    <a:pt x="2432" y="695"/>
                    <a:pt x="2248" y="772"/>
                    <a:pt x="2053" y="772"/>
                  </a:cubicBezTo>
                  <a:cubicBezTo>
                    <a:pt x="812" y="772"/>
                    <a:pt x="812" y="772"/>
                    <a:pt x="812" y="772"/>
                  </a:cubicBezTo>
                  <a:cubicBezTo>
                    <a:pt x="616" y="772"/>
                    <a:pt x="432" y="695"/>
                    <a:pt x="294" y="557"/>
                  </a:cubicBezTo>
                  <a:cubicBezTo>
                    <a:pt x="156" y="419"/>
                    <a:pt x="80" y="235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ubicBezTo>
                    <a:pt x="18" y="0"/>
                    <a:pt x="0" y="17"/>
                    <a:pt x="0" y="40"/>
                  </a:cubicBezTo>
                  <a:cubicBezTo>
                    <a:pt x="0" y="256"/>
                    <a:pt x="84" y="460"/>
                    <a:pt x="238" y="614"/>
                  </a:cubicBezTo>
                  <a:cubicBezTo>
                    <a:pt x="391" y="767"/>
                    <a:pt x="595" y="852"/>
                    <a:pt x="812" y="85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21" name="Freeform 9">
              <a:extLst>
                <a:ext uri="{FF2B5EF4-FFF2-40B4-BE49-F238E27FC236}">
                  <a16:creationId xmlns:a16="http://schemas.microsoft.com/office/drawing/2014/main" id="{095A2820-8404-4B11-BF8C-B4B019EFB0C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10064" y="3336928"/>
              <a:ext cx="244958" cy="72550"/>
            </a:xfrm>
            <a:custGeom>
              <a:avLst/>
              <a:gdLst>
                <a:gd name="T0" fmla="*/ 2559 w 2785"/>
                <a:gd name="T1" fmla="*/ 226 h 772"/>
                <a:gd name="T2" fmla="*/ 2013 w 2785"/>
                <a:gd name="T3" fmla="*/ 0 h 772"/>
                <a:gd name="T4" fmla="*/ 1392 w 2785"/>
                <a:gd name="T5" fmla="*/ 0 h 772"/>
                <a:gd name="T6" fmla="*/ 772 w 2785"/>
                <a:gd name="T7" fmla="*/ 0 h 772"/>
                <a:gd name="T8" fmla="*/ 226 w 2785"/>
                <a:gd name="T9" fmla="*/ 226 h 772"/>
                <a:gd name="T10" fmla="*/ 0 w 2785"/>
                <a:gd name="T11" fmla="*/ 772 h 772"/>
                <a:gd name="T12" fmla="*/ 2785 w 2785"/>
                <a:gd name="T13" fmla="*/ 772 h 772"/>
                <a:gd name="T14" fmla="*/ 2559 w 2785"/>
                <a:gd name="T15" fmla="*/ 226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2559" y="226"/>
                  </a:move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22" name="Freeform 10">
              <a:extLst>
                <a:ext uri="{FF2B5EF4-FFF2-40B4-BE49-F238E27FC236}">
                  <a16:creationId xmlns:a16="http://schemas.microsoft.com/office/drawing/2014/main" id="{BC81B3F4-43D1-4CBC-A9D4-5FA328E659E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06542" y="3333332"/>
              <a:ext cx="251999" cy="79741"/>
            </a:xfrm>
            <a:custGeom>
              <a:avLst/>
              <a:gdLst>
                <a:gd name="T0" fmla="*/ 80 w 2865"/>
                <a:gd name="T1" fmla="*/ 812 h 852"/>
                <a:gd name="T2" fmla="*/ 294 w 2865"/>
                <a:gd name="T3" fmla="*/ 294 h 852"/>
                <a:gd name="T4" fmla="*/ 812 w 2865"/>
                <a:gd name="T5" fmla="*/ 80 h 852"/>
                <a:gd name="T6" fmla="*/ 2053 w 2865"/>
                <a:gd name="T7" fmla="*/ 80 h 852"/>
                <a:gd name="T8" fmla="*/ 2570 w 2865"/>
                <a:gd name="T9" fmla="*/ 294 h 852"/>
                <a:gd name="T10" fmla="*/ 2785 w 2865"/>
                <a:gd name="T11" fmla="*/ 812 h 852"/>
                <a:gd name="T12" fmla="*/ 2825 w 2865"/>
                <a:gd name="T13" fmla="*/ 852 h 852"/>
                <a:gd name="T14" fmla="*/ 2865 w 2865"/>
                <a:gd name="T15" fmla="*/ 812 h 852"/>
                <a:gd name="T16" fmla="*/ 2627 w 2865"/>
                <a:gd name="T17" fmla="*/ 238 h 852"/>
                <a:gd name="T18" fmla="*/ 2053 w 2865"/>
                <a:gd name="T19" fmla="*/ 0 h 852"/>
                <a:gd name="T20" fmla="*/ 812 w 2865"/>
                <a:gd name="T21" fmla="*/ 0 h 852"/>
                <a:gd name="T22" fmla="*/ 238 w 2865"/>
                <a:gd name="T23" fmla="*/ 238 h 852"/>
                <a:gd name="T24" fmla="*/ 0 w 2865"/>
                <a:gd name="T25" fmla="*/ 812 h 852"/>
                <a:gd name="T26" fmla="*/ 40 w 2865"/>
                <a:gd name="T27" fmla="*/ 852 h 852"/>
                <a:gd name="T28" fmla="*/ 80 w 2865"/>
                <a:gd name="T29" fmla="*/ 81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0" y="812"/>
                  </a:moveTo>
                  <a:cubicBezTo>
                    <a:pt x="80" y="616"/>
                    <a:pt x="156" y="432"/>
                    <a:pt x="294" y="294"/>
                  </a:cubicBezTo>
                  <a:cubicBezTo>
                    <a:pt x="432" y="156"/>
                    <a:pt x="616" y="80"/>
                    <a:pt x="812" y="80"/>
                  </a:cubicBezTo>
                  <a:cubicBezTo>
                    <a:pt x="2053" y="80"/>
                    <a:pt x="2053" y="80"/>
                    <a:pt x="2053" y="80"/>
                  </a:cubicBezTo>
                  <a:cubicBezTo>
                    <a:pt x="2248" y="80"/>
                    <a:pt x="2432" y="156"/>
                    <a:pt x="2570" y="294"/>
                  </a:cubicBezTo>
                  <a:cubicBezTo>
                    <a:pt x="2709" y="432"/>
                    <a:pt x="2785" y="616"/>
                    <a:pt x="2785" y="812"/>
                  </a:cubicBezTo>
                  <a:cubicBezTo>
                    <a:pt x="2785" y="834"/>
                    <a:pt x="2803" y="852"/>
                    <a:pt x="2825" y="852"/>
                  </a:cubicBezTo>
                  <a:cubicBezTo>
                    <a:pt x="2847" y="852"/>
                    <a:pt x="2865" y="834"/>
                    <a:pt x="2865" y="812"/>
                  </a:cubicBezTo>
                  <a:cubicBezTo>
                    <a:pt x="2865" y="595"/>
                    <a:pt x="2780" y="391"/>
                    <a:pt x="2627" y="238"/>
                  </a:cubicBezTo>
                  <a:cubicBezTo>
                    <a:pt x="2474" y="84"/>
                    <a:pt x="2270" y="0"/>
                    <a:pt x="2053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95" y="0"/>
                    <a:pt x="391" y="84"/>
                    <a:pt x="238" y="238"/>
                  </a:cubicBezTo>
                  <a:cubicBezTo>
                    <a:pt x="84" y="391"/>
                    <a:pt x="0" y="595"/>
                    <a:pt x="0" y="812"/>
                  </a:cubicBezTo>
                  <a:cubicBezTo>
                    <a:pt x="0" y="834"/>
                    <a:pt x="18" y="852"/>
                    <a:pt x="40" y="852"/>
                  </a:cubicBezTo>
                  <a:cubicBezTo>
                    <a:pt x="62" y="852"/>
                    <a:pt x="80" y="834"/>
                    <a:pt x="80" y="81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id="{BB22831F-5629-4EF5-B580-EFE67B88E1E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926776" y="3290166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id="{D8F578C3-A3DC-4623-A3AA-2A33CFA853C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37615" y="3290166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id="{A51A0408-1292-402C-AA0D-7A8CD46B5BF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48455" y="3290166"/>
              <a:ext cx="173490" cy="166072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</p:grpSp>
      <p:sp>
        <p:nvSpPr>
          <p:cNvPr id="132" name="Textfeld 45">
            <a:extLst>
              <a:ext uri="{FF2B5EF4-FFF2-40B4-BE49-F238E27FC236}">
                <a16:creationId xmlns:a16="http://schemas.microsoft.com/office/drawing/2014/main" id="{F0AFDCC8-4CC6-46F3-9F48-61DD7DBFB92D}"/>
              </a:ext>
            </a:extLst>
          </p:cNvPr>
          <p:cNvSpPr txBox="1"/>
          <p:nvPr/>
        </p:nvSpPr>
        <p:spPr>
          <a:xfrm>
            <a:off x="5101850" y="4843042"/>
            <a:ext cx="35763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Starke Verzögerung, 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hohe Eintrittswahrscheinlichkeit der Risiken; Projekterfolg wesentlich gefährdet (Eskalation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13255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8054996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Steuerungskreis am 28.09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RectangleLegend1">
            <a:extLst>
              <a:ext uri="{FF2B5EF4-FFF2-40B4-BE49-F238E27FC236}">
                <a16:creationId xmlns:a16="http://schemas.microsoft.com/office/drawing/2014/main" id="{2DCF554C-9854-4C9E-890E-BEBE711942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9310" y="3003511"/>
            <a:ext cx="5564657" cy="484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6170FC24-A10C-4B53-919D-3B110968BF5C}"/>
              </a:ext>
            </a:extLst>
          </p:cNvPr>
          <p:cNvCxnSpPr>
            <a:cxnSpLocks/>
          </p:cNvCxnSpPr>
          <p:nvPr/>
        </p:nvCxnSpPr>
        <p:spPr bwMode="gray">
          <a:xfrm>
            <a:off x="1869310" y="4457373"/>
            <a:ext cx="5564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3585BDA-9A2B-47D5-87BB-77FBFE183627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034273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991535F-C85D-4289-94D5-383BF093F03A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518892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B92AA6D-E605-4E15-84BC-444442B8DDDB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003511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2F0BEF6C-EB8E-431F-8C47-4DB929784033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488130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C0E1D74-81CB-4CBC-A87D-D52BA61E3495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972749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B71F2E18-D69C-4255-868A-38BE49E5BF4C}"/>
              </a:ext>
            </a:extLst>
          </p:cNvPr>
          <p:cNvSpPr txBox="1">
            <a:spLocks/>
          </p:cNvSpPr>
          <p:nvPr/>
        </p:nvSpPr>
        <p:spPr>
          <a:xfrm>
            <a:off x="6147747" y="1173397"/>
            <a:ext cx="128622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A48C7EE-BD02-4D82-B2EC-643EB0D36A0B}"/>
              </a:ext>
            </a:extLst>
          </p:cNvPr>
          <p:cNvSpPr txBox="1">
            <a:spLocks/>
          </p:cNvSpPr>
          <p:nvPr/>
        </p:nvSpPr>
        <p:spPr>
          <a:xfrm>
            <a:off x="1869310" y="1173397"/>
            <a:ext cx="4101617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208AD1B-39E0-4210-B4A2-8D155911351C}"/>
              </a:ext>
            </a:extLst>
          </p:cNvPr>
          <p:cNvSpPr txBox="1">
            <a:spLocks/>
          </p:cNvSpPr>
          <p:nvPr/>
        </p:nvSpPr>
        <p:spPr>
          <a:xfrm>
            <a:off x="6147747" y="1684241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00 Uhr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C8E5639-3CB5-4C3E-805A-E5B8D20A3E8F}"/>
              </a:ext>
            </a:extLst>
          </p:cNvPr>
          <p:cNvSpPr txBox="1">
            <a:spLocks/>
          </p:cNvSpPr>
          <p:nvPr/>
        </p:nvSpPr>
        <p:spPr>
          <a:xfrm>
            <a:off x="1869310" y="1684241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Zielsetzung des Steuerungskreise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45FDFA8-DF97-4120-AC53-5945B63794B5}"/>
              </a:ext>
            </a:extLst>
          </p:cNvPr>
          <p:cNvSpPr txBox="1">
            <a:spLocks/>
          </p:cNvSpPr>
          <p:nvPr/>
        </p:nvSpPr>
        <p:spPr>
          <a:xfrm>
            <a:off x="1869310" y="3138098"/>
            <a:ext cx="42784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bstimmung Themen mit Entscheidungsbedarf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384A5A2-7ABD-474F-8134-371E9AEC127E}"/>
              </a:ext>
            </a:extLst>
          </p:cNvPr>
          <p:cNvSpPr txBox="1">
            <a:spLocks/>
          </p:cNvSpPr>
          <p:nvPr/>
        </p:nvSpPr>
        <p:spPr>
          <a:xfrm>
            <a:off x="6147747" y="2168860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05 Uhr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CEAF8DA-71E3-4A7E-BC4C-65443B0237CC}"/>
              </a:ext>
            </a:extLst>
          </p:cNvPr>
          <p:cNvSpPr txBox="1">
            <a:spLocks/>
          </p:cNvSpPr>
          <p:nvPr/>
        </p:nvSpPr>
        <p:spPr>
          <a:xfrm>
            <a:off x="1869310" y="2168860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Beschreibung der aktuellen Projektaktivitäten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AB6E75F-1872-4607-B8DE-C345E7C67A22}"/>
              </a:ext>
            </a:extLst>
          </p:cNvPr>
          <p:cNvSpPr txBox="1">
            <a:spLocks/>
          </p:cNvSpPr>
          <p:nvPr/>
        </p:nvSpPr>
        <p:spPr>
          <a:xfrm>
            <a:off x="1869310" y="4107336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Festlegung der nächsten Schritt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56FC1C6-515B-4442-9E15-029DE58EE1B8}"/>
              </a:ext>
            </a:extLst>
          </p:cNvPr>
          <p:cNvSpPr txBox="1">
            <a:spLocks/>
          </p:cNvSpPr>
          <p:nvPr/>
        </p:nvSpPr>
        <p:spPr>
          <a:xfrm>
            <a:off x="6147747" y="2653479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15 Uhr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8503684-5576-48D7-9D9B-693653FC05BF}"/>
              </a:ext>
            </a:extLst>
          </p:cNvPr>
          <p:cNvSpPr txBox="1">
            <a:spLocks/>
          </p:cNvSpPr>
          <p:nvPr/>
        </p:nvSpPr>
        <p:spPr>
          <a:xfrm>
            <a:off x="1869310" y="2653479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arstellung der inhaltlichen Umsetzung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1214EE0-1352-4B36-ABBB-87DC20079B34}"/>
              </a:ext>
            </a:extLst>
          </p:cNvPr>
          <p:cNvSpPr txBox="1">
            <a:spLocks/>
          </p:cNvSpPr>
          <p:nvPr/>
        </p:nvSpPr>
        <p:spPr>
          <a:xfrm>
            <a:off x="1869310" y="3622717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dressierung von Unterstützungsbedarfen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FDD3F77-2962-4A78-8C33-C87E6900F9D6}"/>
              </a:ext>
            </a:extLst>
          </p:cNvPr>
          <p:cNvGrpSpPr/>
          <p:nvPr/>
        </p:nvGrpSpPr>
        <p:grpSpPr>
          <a:xfrm>
            <a:off x="5667437" y="1223502"/>
            <a:ext cx="246340" cy="260658"/>
            <a:chOff x="5451867" y="1215807"/>
            <a:chExt cx="246340" cy="260658"/>
          </a:xfrm>
        </p:grpSpPr>
        <p:sp>
          <p:nvSpPr>
            <p:cNvPr id="102" name="Freeform 73">
              <a:extLst>
                <a:ext uri="{FF2B5EF4-FFF2-40B4-BE49-F238E27FC236}">
                  <a16:creationId xmlns:a16="http://schemas.microsoft.com/office/drawing/2014/main" id="{3F632CC7-84F8-4769-8C48-14AD8A3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1867" y="1215807"/>
              <a:ext cx="227063" cy="260459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4">
              <a:extLst>
                <a:ext uri="{FF2B5EF4-FFF2-40B4-BE49-F238E27FC236}">
                  <a16:creationId xmlns:a16="http://schemas.microsoft.com/office/drawing/2014/main" id="{86568860-5A43-49E5-93DA-23886116D1A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6139" y="1294115"/>
              <a:ext cx="182068" cy="182350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4" name="Freeform 71">
            <a:extLst>
              <a:ext uri="{FF2B5EF4-FFF2-40B4-BE49-F238E27FC236}">
                <a16:creationId xmlns:a16="http://schemas.microsoft.com/office/drawing/2014/main" id="{360F0618-404D-4AF1-8C81-0A7D1308E633}"/>
              </a:ext>
            </a:extLst>
          </p:cNvPr>
          <p:cNvSpPr>
            <a:spLocks noChangeAspect="1"/>
          </p:cNvSpPr>
          <p:nvPr/>
        </p:nvSpPr>
        <p:spPr bwMode="gray">
          <a:xfrm>
            <a:off x="7116190" y="1223681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sticker">
            <a:extLst>
              <a:ext uri="{FF2B5EF4-FFF2-40B4-BE49-F238E27FC236}">
                <a16:creationId xmlns:a16="http://schemas.microsoft.com/office/drawing/2014/main" id="{BFD371C8-C539-4812-AEA7-9A2DDFB8B970}"/>
              </a:ext>
            </a:extLst>
          </p:cNvPr>
          <p:cNvGrpSpPr/>
          <p:nvPr/>
        </p:nvGrpSpPr>
        <p:grpSpPr>
          <a:xfrm>
            <a:off x="8187537" y="713536"/>
            <a:ext cx="628377" cy="226058"/>
            <a:chOff x="8182508" y="713536"/>
            <a:chExt cx="628377" cy="226058"/>
          </a:xfrm>
        </p:grpSpPr>
        <p:sp>
          <p:nvSpPr>
            <p:cNvPr id="40" name="StickerRectangle">
              <a:extLst>
                <a:ext uri="{FF2B5EF4-FFF2-40B4-BE49-F238E27FC236}">
                  <a16:creationId xmlns:a16="http://schemas.microsoft.com/office/drawing/2014/main" id="{7BD0B284-0951-4A63-A222-70ECCE8A0D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1" name="AutoShape 32">
              <a:extLst>
                <a:ext uri="{FF2B5EF4-FFF2-40B4-BE49-F238E27FC236}">
                  <a16:creationId xmlns:a16="http://schemas.microsoft.com/office/drawing/2014/main" id="{E4EB5BA5-26A6-4233-96B4-654EED480D09}"/>
                </a:ext>
              </a:extLst>
            </p:cNvPr>
            <p:cNvCxnSpPr>
              <a:cxnSpLocks noChangeShapeType="1"/>
              <a:stCxn id="40" idx="4"/>
              <a:endCxn id="40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>
              <a:extLst>
                <a:ext uri="{FF2B5EF4-FFF2-40B4-BE49-F238E27FC236}">
                  <a16:creationId xmlns:a16="http://schemas.microsoft.com/office/drawing/2014/main" id="{DEB9A0CC-639F-4D66-9B59-E615A2C50E95}"/>
                </a:ext>
              </a:extLst>
            </p:cNvPr>
            <p:cNvCxnSpPr>
              <a:cxnSpLocks noChangeShapeType="1"/>
              <a:stCxn id="40" idx="2"/>
              <a:endCxn id="40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763ABC32-7B16-412C-9A6E-F989C26DC67E}"/>
              </a:ext>
            </a:extLst>
          </p:cNvPr>
          <p:cNvSpPr txBox="1">
            <a:spLocks/>
          </p:cNvSpPr>
          <p:nvPr/>
        </p:nvSpPr>
        <p:spPr>
          <a:xfrm>
            <a:off x="6147747" y="3138098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30 Uh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7A38A73-1825-4138-B185-DD582A164651}"/>
              </a:ext>
            </a:extLst>
          </p:cNvPr>
          <p:cNvSpPr txBox="1">
            <a:spLocks/>
          </p:cNvSpPr>
          <p:nvPr/>
        </p:nvSpPr>
        <p:spPr>
          <a:xfrm>
            <a:off x="6147747" y="4107336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50 Uh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570FF03-F06B-4DD3-91B4-2ADF1899AF76}"/>
              </a:ext>
            </a:extLst>
          </p:cNvPr>
          <p:cNvSpPr txBox="1">
            <a:spLocks/>
          </p:cNvSpPr>
          <p:nvPr/>
        </p:nvSpPr>
        <p:spPr>
          <a:xfrm>
            <a:off x="6147747" y="3622717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45 Uh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86064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EAA70F-588C-46AF-AE5C-764CAB0A0A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7432665"/>
              </p:ext>
            </p:extLst>
          </p:nvPr>
        </p:nvGraphicFramePr>
        <p:xfrm>
          <a:off x="1656" y="16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5EAA70F-588C-46AF-AE5C-764CAB0A0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656" y="16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05E162-8767-407E-AB89-54C09AA5EA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C234E57F-28ED-45BD-A312-A343E515B1D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ntscheidungsbedarf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067AC26-E976-4F9A-A556-1B1347E05F4A}"/>
              </a:ext>
            </a:extLst>
          </p:cNvPr>
          <p:cNvSpPr txBox="1">
            <a:spLocks/>
          </p:cNvSpPr>
          <p:nvPr/>
        </p:nvSpPr>
        <p:spPr>
          <a:xfrm>
            <a:off x="487362" y="1171588"/>
            <a:ext cx="40300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scheidungsbedarf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F394F7-C541-419E-899E-B52275648059}"/>
              </a:ext>
            </a:extLst>
          </p:cNvPr>
          <p:cNvSpPr txBox="1">
            <a:spLocks/>
          </p:cNvSpPr>
          <p:nvPr/>
        </p:nvSpPr>
        <p:spPr>
          <a:xfrm>
            <a:off x="5029200" y="1171588"/>
            <a:ext cx="37867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ergrundinformation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87373EB-ABB8-43B4-9A50-14A282D1811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029200" y="1557452"/>
            <a:ext cx="3786714" cy="2739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ie Leistung "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MusterLeistu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" sollte aus </a:t>
            </a:r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hlicher Sicht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in das Themenfeld "XX" verschoben werden; die </a:t>
            </a:r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chiebu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muss mit dem Themenfeld "XX" abgestimmt werden</a:t>
            </a:r>
          </a:p>
          <a:p>
            <a:pPr lvl="1">
              <a:spcBef>
                <a:spcPts val="600"/>
              </a:spcBef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as Themenfeld "XX" hat eine </a:t>
            </a:r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frage an das Themenfel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bzgl. der Aufnahme einer bestehenden  Leistung gestellt; die Fachseite prüft die </a:t>
            </a:r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gliederung </a:t>
            </a:r>
          </a:p>
          <a:p>
            <a:pPr lvl="1">
              <a:spcBef>
                <a:spcPts val="600"/>
              </a:spcBef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ie Personen XX streben</a:t>
            </a:r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ine Zusammenarbeit 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n; Prüfung der </a:t>
            </a:r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nittmengen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ausstehend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1724C2F5-731B-4DC1-AED3-09E3F12E1D8C}"/>
              </a:ext>
            </a:extLst>
          </p:cNvPr>
          <p:cNvGrpSpPr/>
          <p:nvPr/>
        </p:nvGrpSpPr>
        <p:grpSpPr>
          <a:xfrm>
            <a:off x="487362" y="2047718"/>
            <a:ext cx="4030047" cy="430887"/>
            <a:chOff x="487362" y="2234101"/>
            <a:chExt cx="4030047" cy="430887"/>
          </a:xfrm>
        </p:grpSpPr>
        <p:sp>
          <p:nvSpPr>
            <p:cNvPr id="50" name="TrackerNum 48">
              <a:extLst>
                <a:ext uri="{FF2B5EF4-FFF2-40B4-BE49-F238E27FC236}">
                  <a16:creationId xmlns:a16="http://schemas.microsoft.com/office/drawing/2014/main" id="{C33F41CE-83F7-4A45-BB1E-CE207B1BF777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>
            <a:xfrm>
              <a:off x="487362" y="2234101"/>
              <a:ext cx="268076" cy="268432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4EB4C9D-0C84-41EC-858F-E3E6540EFDE0}"/>
                </a:ext>
              </a:extLst>
            </p:cNvPr>
            <p:cNvSpPr txBox="1">
              <a:spLocks/>
            </p:cNvSpPr>
            <p:nvPr/>
          </p:nvSpPr>
          <p:spPr>
            <a:xfrm>
              <a:off x="836177" y="2234101"/>
              <a:ext cx="3681232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Anfrage zur Aufnahme einer Leistung aus dem Themenfeld "XX"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D63B0C6D-8166-4057-8EFD-0A681E6915F4}"/>
              </a:ext>
            </a:extLst>
          </p:cNvPr>
          <p:cNvGrpSpPr/>
          <p:nvPr/>
        </p:nvGrpSpPr>
        <p:grpSpPr>
          <a:xfrm>
            <a:off x="487362" y="2761994"/>
            <a:ext cx="4030047" cy="430887"/>
            <a:chOff x="487362" y="3000830"/>
            <a:chExt cx="4030047" cy="430887"/>
          </a:xfrm>
        </p:grpSpPr>
        <p:sp>
          <p:nvSpPr>
            <p:cNvPr id="51" name="TrackerNum 48">
              <a:extLst>
                <a:ext uri="{FF2B5EF4-FFF2-40B4-BE49-F238E27FC236}">
                  <a16:creationId xmlns:a16="http://schemas.microsoft.com/office/drawing/2014/main" id="{4FBD0EE9-8BFC-4195-9BDB-35890EC4ED3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487362" y="3000830"/>
              <a:ext cx="268076" cy="268432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C2EDE59-94A0-4872-8F88-EAD2E344F0CA}"/>
                </a:ext>
              </a:extLst>
            </p:cNvPr>
            <p:cNvSpPr txBox="1">
              <a:spLocks/>
            </p:cNvSpPr>
            <p:nvPr/>
          </p:nvSpPr>
          <p:spPr>
            <a:xfrm>
              <a:off x="836177" y="3000830"/>
              <a:ext cx="3681232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Aufnahme der Personen XX in den Steuerungskreis</a:t>
              </a:r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3AEE90D8-2735-4F0A-A21B-CFAD4CD57C67}"/>
              </a:ext>
            </a:extLst>
          </p:cNvPr>
          <p:cNvGrpSpPr/>
          <p:nvPr/>
        </p:nvGrpSpPr>
        <p:grpSpPr>
          <a:xfrm>
            <a:off x="487362" y="1557452"/>
            <a:ext cx="4030047" cy="268432"/>
            <a:chOff x="487362" y="1702489"/>
            <a:chExt cx="4030047" cy="268432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1568D4B6-D5E3-453E-98C8-C6EB898867FB}"/>
                </a:ext>
              </a:extLst>
            </p:cNvPr>
            <p:cNvSpPr txBox="1">
              <a:spLocks/>
            </p:cNvSpPr>
            <p:nvPr/>
          </p:nvSpPr>
          <p:spPr>
            <a:xfrm>
              <a:off x="836177" y="1713594"/>
              <a:ext cx="3681232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Verschiebung der Leistung "</a:t>
              </a:r>
              <a:r>
                <a:rPr lang="de-DE" sz="1400" dirty="0" err="1">
                  <a:latin typeface="Arial" panose="020B0604020202020204" pitchFamily="34" charset="0"/>
                  <a:cs typeface="Arial" panose="020B0604020202020204" pitchFamily="34" charset="0"/>
                </a:rPr>
                <a:t>MusterLeistung</a:t>
              </a:r>
              <a:r>
                <a:rPr lang="de-DE" sz="1400" dirty="0">
                  <a:latin typeface="Arial" panose="020B0604020202020204" pitchFamily="34" charset="0"/>
                  <a:cs typeface="Arial" panose="020B0604020202020204" pitchFamily="34" charset="0"/>
                </a:rPr>
                <a:t>"</a:t>
              </a:r>
            </a:p>
          </p:txBody>
        </p:sp>
        <p:sp>
          <p:nvSpPr>
            <p:cNvPr id="48" name="TrackerNum 48">
              <a:extLst>
                <a:ext uri="{FF2B5EF4-FFF2-40B4-BE49-F238E27FC236}">
                  <a16:creationId xmlns:a16="http://schemas.microsoft.com/office/drawing/2014/main" id="{48A70A92-F948-4CA4-9AF6-57E09C42A141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487362" y="1702489"/>
              <a:ext cx="268076" cy="268432"/>
            </a:xfrm>
            <a:prstGeom prst="ellipse">
              <a:avLst/>
            </a:prstGeom>
            <a:solidFill>
              <a:schemeClr val="accent4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de-DE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</p:grp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04AD72A-FE63-4F5E-A931-026C6F5E712A}"/>
              </a:ext>
            </a:extLst>
          </p:cNvPr>
          <p:cNvCxnSpPr>
            <a:cxnSpLocks/>
          </p:cNvCxnSpPr>
          <p:nvPr/>
        </p:nvCxnSpPr>
        <p:spPr>
          <a:xfrm>
            <a:off x="487362" y="1936801"/>
            <a:ext cx="403004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73B7A1A-3337-435E-BDE4-D966147B610E}"/>
              </a:ext>
            </a:extLst>
          </p:cNvPr>
          <p:cNvCxnSpPr>
            <a:cxnSpLocks/>
          </p:cNvCxnSpPr>
          <p:nvPr/>
        </p:nvCxnSpPr>
        <p:spPr>
          <a:xfrm>
            <a:off x="487362" y="2651078"/>
            <a:ext cx="403004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sticker">
            <a:extLst>
              <a:ext uri="{FF2B5EF4-FFF2-40B4-BE49-F238E27FC236}">
                <a16:creationId xmlns:a16="http://schemas.microsoft.com/office/drawing/2014/main" id="{C4B8A25D-E50C-4873-B8E2-F0280F97450E}"/>
              </a:ext>
            </a:extLst>
          </p:cNvPr>
          <p:cNvGrpSpPr/>
          <p:nvPr/>
        </p:nvGrpSpPr>
        <p:grpSpPr>
          <a:xfrm>
            <a:off x="8187537" y="713536"/>
            <a:ext cx="628377" cy="226058"/>
            <a:chOff x="8182508" y="713536"/>
            <a:chExt cx="628377" cy="226058"/>
          </a:xfrm>
        </p:grpSpPr>
        <p:sp>
          <p:nvSpPr>
            <p:cNvPr id="34" name="StickerRectangle">
              <a:extLst>
                <a:ext uri="{FF2B5EF4-FFF2-40B4-BE49-F238E27FC236}">
                  <a16:creationId xmlns:a16="http://schemas.microsoft.com/office/drawing/2014/main" id="{FB07E336-ED84-42C0-A137-3E2DF0A3D19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5" name="AutoShape 32">
              <a:extLst>
                <a:ext uri="{FF2B5EF4-FFF2-40B4-BE49-F238E27FC236}">
                  <a16:creationId xmlns:a16="http://schemas.microsoft.com/office/drawing/2014/main" id="{20E44322-A185-401C-BC6A-B13BF0DA7BC2}"/>
                </a:ext>
              </a:extLst>
            </p:cNvPr>
            <p:cNvCxnSpPr>
              <a:cxnSpLocks noChangeShapeType="1"/>
              <a:stCxn id="34" idx="4"/>
              <a:endCxn id="34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32">
              <a:extLst>
                <a:ext uri="{FF2B5EF4-FFF2-40B4-BE49-F238E27FC236}">
                  <a16:creationId xmlns:a16="http://schemas.microsoft.com/office/drawing/2014/main" id="{4079F616-09E7-4B37-B308-3CECB322CEA7}"/>
                </a:ext>
              </a:extLst>
            </p:cNvPr>
            <p:cNvCxnSpPr>
              <a:cxnSpLocks noChangeShapeType="1"/>
              <a:stCxn id="34" idx="2"/>
              <a:endCxn id="34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CF52161-1839-4974-BF75-2898965F9E7F}"/>
              </a:ext>
            </a:extLst>
          </p:cNvPr>
          <p:cNvCxnSpPr>
            <a:cxnSpLocks/>
          </p:cNvCxnSpPr>
          <p:nvPr/>
        </p:nvCxnSpPr>
        <p:spPr>
          <a:xfrm>
            <a:off x="487362" y="1446534"/>
            <a:ext cx="792212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7F83F4C-2919-42A3-9F9A-FA7C5676702D}"/>
              </a:ext>
            </a:extLst>
          </p:cNvPr>
          <p:cNvGrpSpPr/>
          <p:nvPr/>
        </p:nvGrpSpPr>
        <p:grpSpPr bwMode="gray">
          <a:xfrm>
            <a:off x="4598148" y="1184079"/>
            <a:ext cx="335149" cy="524910"/>
            <a:chOff x="2501286" y="2793737"/>
            <a:chExt cx="403875" cy="611512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4FB4273F-EA9E-438D-A265-B1B3FD58C6AB}"/>
                </a:ext>
              </a:extLst>
            </p:cNvPr>
            <p:cNvSpPr/>
            <p:nvPr/>
          </p:nvSpPr>
          <p:spPr bwMode="gray">
            <a:xfrm>
              <a:off x="2541528" y="2793737"/>
              <a:ext cx="363633" cy="6115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49" dirty="0" err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E0F9F1B-138F-4501-8EEA-81E1D7255DD5}"/>
                </a:ext>
              </a:extLst>
            </p:cNvPr>
            <p:cNvGrpSpPr/>
            <p:nvPr/>
          </p:nvGrpSpPr>
          <p:grpSpPr bwMode="gray">
            <a:xfrm>
              <a:off x="2501286" y="2888629"/>
              <a:ext cx="379332" cy="421728"/>
              <a:chOff x="2501286" y="2853935"/>
              <a:chExt cx="379332" cy="421728"/>
            </a:xfrm>
          </p:grpSpPr>
          <p:sp>
            <p:nvSpPr>
              <p:cNvPr id="40" name="Chevron 7">
                <a:extLst>
                  <a:ext uri="{FF2B5EF4-FFF2-40B4-BE49-F238E27FC236}">
                    <a16:creationId xmlns:a16="http://schemas.microsoft.com/office/drawing/2014/main" id="{6702A055-6089-42DB-9B6C-1A1CE2C79B7E}"/>
                  </a:ext>
                </a:extLst>
              </p:cNvPr>
              <p:cNvSpPr/>
              <p:nvPr/>
            </p:nvSpPr>
            <p:spPr bwMode="gray">
              <a:xfrm flipV="1">
                <a:off x="2501286" y="2901701"/>
                <a:ext cx="199048" cy="326196"/>
              </a:xfrm>
              <a:prstGeom prst="chevron">
                <a:avLst/>
              </a:prstGeom>
              <a:solidFill>
                <a:schemeClr val="bg1">
                  <a:lumMod val="7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49" dirty="0" err="1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1" name="Chevron 8">
                <a:extLst>
                  <a:ext uri="{FF2B5EF4-FFF2-40B4-BE49-F238E27FC236}">
                    <a16:creationId xmlns:a16="http://schemas.microsoft.com/office/drawing/2014/main" id="{61A6F31B-FE32-4431-8368-10F6CAA70BF4}"/>
                  </a:ext>
                </a:extLst>
              </p:cNvPr>
              <p:cNvSpPr/>
              <p:nvPr/>
            </p:nvSpPr>
            <p:spPr bwMode="gray">
              <a:xfrm>
                <a:off x="2623274" y="2853935"/>
                <a:ext cx="257344" cy="421728"/>
              </a:xfrm>
              <a:prstGeom prst="chevron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49" dirty="0" err="1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E4AB7C45-2057-4372-A6D2-4B41282CAE8C}"/>
              </a:ext>
            </a:extLst>
          </p:cNvPr>
          <p:cNvCxnSpPr>
            <a:cxnSpLocks/>
          </p:cNvCxnSpPr>
          <p:nvPr/>
        </p:nvCxnSpPr>
        <p:spPr>
          <a:xfrm>
            <a:off x="4751457" y="1637201"/>
            <a:ext cx="0" cy="2905936"/>
          </a:xfrm>
          <a:prstGeom prst="line">
            <a:avLst/>
          </a:prstGeom>
          <a:ln w="31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1633197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Steuerungskreis am 28.09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RectangleLegend1">
            <a:extLst>
              <a:ext uri="{FF2B5EF4-FFF2-40B4-BE49-F238E27FC236}">
                <a16:creationId xmlns:a16="http://schemas.microsoft.com/office/drawing/2014/main" id="{2DCF554C-9854-4C9E-890E-BEBE71194281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9310" y="3488423"/>
            <a:ext cx="5564657" cy="484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6170FC24-A10C-4B53-919D-3B110968BF5C}"/>
              </a:ext>
            </a:extLst>
          </p:cNvPr>
          <p:cNvCxnSpPr>
            <a:cxnSpLocks/>
          </p:cNvCxnSpPr>
          <p:nvPr/>
        </p:nvCxnSpPr>
        <p:spPr bwMode="gray">
          <a:xfrm>
            <a:off x="1869310" y="4457373"/>
            <a:ext cx="5564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63585BDA-9A2B-47D5-87BB-77FBFE183627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034273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6991535F-C85D-4289-94D5-383BF093F03A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518892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B92AA6D-E605-4E15-84BC-444442B8DDDB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003511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2F0BEF6C-EB8E-431F-8C47-4DB929784033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488130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C0E1D74-81CB-4CBC-A87D-D52BA61E3495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972749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86">
            <a:extLst>
              <a:ext uri="{FF2B5EF4-FFF2-40B4-BE49-F238E27FC236}">
                <a16:creationId xmlns:a16="http://schemas.microsoft.com/office/drawing/2014/main" id="{B71F2E18-D69C-4255-868A-38BE49E5BF4C}"/>
              </a:ext>
            </a:extLst>
          </p:cNvPr>
          <p:cNvSpPr txBox="1">
            <a:spLocks/>
          </p:cNvSpPr>
          <p:nvPr/>
        </p:nvSpPr>
        <p:spPr>
          <a:xfrm>
            <a:off x="6147747" y="1173397"/>
            <a:ext cx="128622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A48C7EE-BD02-4D82-B2EC-643EB0D36A0B}"/>
              </a:ext>
            </a:extLst>
          </p:cNvPr>
          <p:cNvSpPr txBox="1">
            <a:spLocks/>
          </p:cNvSpPr>
          <p:nvPr/>
        </p:nvSpPr>
        <p:spPr>
          <a:xfrm>
            <a:off x="1869310" y="1173397"/>
            <a:ext cx="4101617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208AD1B-39E0-4210-B4A2-8D155911351C}"/>
              </a:ext>
            </a:extLst>
          </p:cNvPr>
          <p:cNvSpPr txBox="1">
            <a:spLocks/>
          </p:cNvSpPr>
          <p:nvPr/>
        </p:nvSpPr>
        <p:spPr>
          <a:xfrm>
            <a:off x="6147747" y="1684241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00 Uhr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C8E5639-3CB5-4C3E-805A-E5B8D20A3E8F}"/>
              </a:ext>
            </a:extLst>
          </p:cNvPr>
          <p:cNvSpPr txBox="1">
            <a:spLocks/>
          </p:cNvSpPr>
          <p:nvPr/>
        </p:nvSpPr>
        <p:spPr>
          <a:xfrm>
            <a:off x="1869310" y="1684241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Zielsetzung des Steuerungskreise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F45FDFA8-DF97-4120-AC53-5945B63794B5}"/>
              </a:ext>
            </a:extLst>
          </p:cNvPr>
          <p:cNvSpPr txBox="1">
            <a:spLocks/>
          </p:cNvSpPr>
          <p:nvPr/>
        </p:nvSpPr>
        <p:spPr>
          <a:xfrm>
            <a:off x="1869310" y="3138098"/>
            <a:ext cx="427843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bstimmung Themen mit Entscheidungsbedarf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384A5A2-7ABD-474F-8134-371E9AEC127E}"/>
              </a:ext>
            </a:extLst>
          </p:cNvPr>
          <p:cNvSpPr txBox="1">
            <a:spLocks/>
          </p:cNvSpPr>
          <p:nvPr/>
        </p:nvSpPr>
        <p:spPr>
          <a:xfrm>
            <a:off x="6147747" y="2168860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05 Uhr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0CEAF8DA-71E3-4A7E-BC4C-65443B0237CC}"/>
              </a:ext>
            </a:extLst>
          </p:cNvPr>
          <p:cNvSpPr txBox="1">
            <a:spLocks/>
          </p:cNvSpPr>
          <p:nvPr/>
        </p:nvSpPr>
        <p:spPr>
          <a:xfrm>
            <a:off x="1869310" y="2168860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Beschreibung der aktuellen Projektaktivitäten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1AB6E75F-1872-4607-B8DE-C345E7C67A22}"/>
              </a:ext>
            </a:extLst>
          </p:cNvPr>
          <p:cNvSpPr txBox="1">
            <a:spLocks/>
          </p:cNvSpPr>
          <p:nvPr/>
        </p:nvSpPr>
        <p:spPr>
          <a:xfrm>
            <a:off x="1869310" y="4107336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Festlegung der nächsten Schritte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156FC1C6-515B-4442-9E15-029DE58EE1B8}"/>
              </a:ext>
            </a:extLst>
          </p:cNvPr>
          <p:cNvSpPr txBox="1">
            <a:spLocks/>
          </p:cNvSpPr>
          <p:nvPr/>
        </p:nvSpPr>
        <p:spPr>
          <a:xfrm>
            <a:off x="6147747" y="2653479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15 Uhr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98503684-5576-48D7-9D9B-693653FC05BF}"/>
              </a:ext>
            </a:extLst>
          </p:cNvPr>
          <p:cNvSpPr txBox="1">
            <a:spLocks/>
          </p:cNvSpPr>
          <p:nvPr/>
        </p:nvSpPr>
        <p:spPr>
          <a:xfrm>
            <a:off x="1869310" y="2653479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Darstellung der inhaltlichen Umsetzung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31214EE0-1352-4B36-ABBB-87DC20079B34}"/>
              </a:ext>
            </a:extLst>
          </p:cNvPr>
          <p:cNvSpPr txBox="1">
            <a:spLocks/>
          </p:cNvSpPr>
          <p:nvPr/>
        </p:nvSpPr>
        <p:spPr>
          <a:xfrm>
            <a:off x="1869310" y="3622717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Adressierung von Unterstützungsbedarfen</a:t>
            </a:r>
          </a:p>
        </p:txBody>
      </p: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5FDD3F77-2962-4A78-8C33-C87E6900F9D6}"/>
              </a:ext>
            </a:extLst>
          </p:cNvPr>
          <p:cNvGrpSpPr/>
          <p:nvPr/>
        </p:nvGrpSpPr>
        <p:grpSpPr>
          <a:xfrm>
            <a:off x="5667437" y="1223502"/>
            <a:ext cx="246340" cy="260658"/>
            <a:chOff x="5451867" y="1215807"/>
            <a:chExt cx="246340" cy="260658"/>
          </a:xfrm>
        </p:grpSpPr>
        <p:sp>
          <p:nvSpPr>
            <p:cNvPr id="102" name="Freeform 73">
              <a:extLst>
                <a:ext uri="{FF2B5EF4-FFF2-40B4-BE49-F238E27FC236}">
                  <a16:creationId xmlns:a16="http://schemas.microsoft.com/office/drawing/2014/main" id="{3F632CC7-84F8-4769-8C48-14AD8A3F310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1867" y="1215807"/>
              <a:ext cx="227063" cy="260459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Freeform 24">
              <a:extLst>
                <a:ext uri="{FF2B5EF4-FFF2-40B4-BE49-F238E27FC236}">
                  <a16:creationId xmlns:a16="http://schemas.microsoft.com/office/drawing/2014/main" id="{86568860-5A43-49E5-93DA-23886116D1A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6139" y="1294115"/>
              <a:ext cx="182068" cy="182350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4" name="Freeform 71">
            <a:extLst>
              <a:ext uri="{FF2B5EF4-FFF2-40B4-BE49-F238E27FC236}">
                <a16:creationId xmlns:a16="http://schemas.microsoft.com/office/drawing/2014/main" id="{360F0618-404D-4AF1-8C81-0A7D1308E633}"/>
              </a:ext>
            </a:extLst>
          </p:cNvPr>
          <p:cNvSpPr>
            <a:spLocks noChangeAspect="1"/>
          </p:cNvSpPr>
          <p:nvPr/>
        </p:nvSpPr>
        <p:spPr bwMode="gray">
          <a:xfrm>
            <a:off x="7116190" y="1223681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9" name="sticker">
            <a:extLst>
              <a:ext uri="{FF2B5EF4-FFF2-40B4-BE49-F238E27FC236}">
                <a16:creationId xmlns:a16="http://schemas.microsoft.com/office/drawing/2014/main" id="{BFD371C8-C539-4812-AEA7-9A2DDFB8B970}"/>
              </a:ext>
            </a:extLst>
          </p:cNvPr>
          <p:cNvGrpSpPr/>
          <p:nvPr/>
        </p:nvGrpSpPr>
        <p:grpSpPr>
          <a:xfrm>
            <a:off x="8187537" y="713536"/>
            <a:ext cx="628377" cy="226058"/>
            <a:chOff x="8182508" y="713536"/>
            <a:chExt cx="628377" cy="226058"/>
          </a:xfrm>
        </p:grpSpPr>
        <p:sp>
          <p:nvSpPr>
            <p:cNvPr id="40" name="StickerRectangle">
              <a:extLst>
                <a:ext uri="{FF2B5EF4-FFF2-40B4-BE49-F238E27FC236}">
                  <a16:creationId xmlns:a16="http://schemas.microsoft.com/office/drawing/2014/main" id="{7BD0B284-0951-4A63-A222-70ECCE8A0D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1" name="AutoShape 32">
              <a:extLst>
                <a:ext uri="{FF2B5EF4-FFF2-40B4-BE49-F238E27FC236}">
                  <a16:creationId xmlns:a16="http://schemas.microsoft.com/office/drawing/2014/main" id="{E4EB5BA5-26A6-4233-96B4-654EED480D09}"/>
                </a:ext>
              </a:extLst>
            </p:cNvPr>
            <p:cNvCxnSpPr>
              <a:cxnSpLocks noChangeShapeType="1"/>
              <a:stCxn id="40" idx="4"/>
              <a:endCxn id="40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>
              <a:extLst>
                <a:ext uri="{FF2B5EF4-FFF2-40B4-BE49-F238E27FC236}">
                  <a16:creationId xmlns:a16="http://schemas.microsoft.com/office/drawing/2014/main" id="{DEB9A0CC-639F-4D66-9B59-E615A2C50E95}"/>
                </a:ext>
              </a:extLst>
            </p:cNvPr>
            <p:cNvCxnSpPr>
              <a:cxnSpLocks noChangeShapeType="1"/>
              <a:stCxn id="40" idx="2"/>
              <a:endCxn id="40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3" name="TextBox 42">
            <a:extLst>
              <a:ext uri="{FF2B5EF4-FFF2-40B4-BE49-F238E27FC236}">
                <a16:creationId xmlns:a16="http://schemas.microsoft.com/office/drawing/2014/main" id="{763ABC32-7B16-412C-9A6E-F989C26DC67E}"/>
              </a:ext>
            </a:extLst>
          </p:cNvPr>
          <p:cNvSpPr txBox="1">
            <a:spLocks/>
          </p:cNvSpPr>
          <p:nvPr/>
        </p:nvSpPr>
        <p:spPr>
          <a:xfrm>
            <a:off x="6147747" y="3138098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30 Uhr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7A38A73-1825-4138-B185-DD582A164651}"/>
              </a:ext>
            </a:extLst>
          </p:cNvPr>
          <p:cNvSpPr txBox="1">
            <a:spLocks/>
          </p:cNvSpPr>
          <p:nvPr/>
        </p:nvSpPr>
        <p:spPr>
          <a:xfrm>
            <a:off x="6147747" y="4107336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50 Uhr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570FF03-F06B-4DD3-91B4-2ADF1899AF76}"/>
              </a:ext>
            </a:extLst>
          </p:cNvPr>
          <p:cNvSpPr txBox="1">
            <a:spLocks/>
          </p:cNvSpPr>
          <p:nvPr/>
        </p:nvSpPr>
        <p:spPr>
          <a:xfrm>
            <a:off x="6147747" y="3622717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09:45 Uh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17752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A7D781-72DC-4EA8-8ADC-BF84965F31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675670"/>
              </p:ext>
            </p:extLst>
          </p:nvPr>
        </p:nvGraphicFramePr>
        <p:xfrm>
          <a:off x="1656" y="16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A7D781-72DC-4EA8-8ADC-BF84965F3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56" y="16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82D06C-CD0E-4601-9876-91253993F2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CEC6D537-4A6B-4B6B-A9A9-0D98B45AEC8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dressierung von Unterstützungsbedarfen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3F66F6B-661C-475E-A12C-06774D9012C5}"/>
              </a:ext>
            </a:extLst>
          </p:cNvPr>
          <p:cNvCxnSpPr>
            <a:cxnSpLocks/>
          </p:cNvCxnSpPr>
          <p:nvPr/>
        </p:nvCxnSpPr>
        <p:spPr bwMode="gray">
          <a:xfrm>
            <a:off x="487362" y="1566837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5DDE5504-09DE-4EDA-AC98-0D6A048C52C6}"/>
              </a:ext>
            </a:extLst>
          </p:cNvPr>
          <p:cNvGrpSpPr/>
          <p:nvPr/>
        </p:nvGrpSpPr>
        <p:grpSpPr>
          <a:xfrm>
            <a:off x="487361" y="2551515"/>
            <a:ext cx="3897593" cy="984678"/>
            <a:chOff x="487361" y="2447098"/>
            <a:chExt cx="3897593" cy="984678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4ED86E1B-086E-4EFE-A980-1BACC896626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7361" y="2447098"/>
              <a:ext cx="389759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D450E3DA-3155-4808-B71F-81EA13B4585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7361" y="3431776"/>
              <a:ext cx="389759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50F9E5DA-F2FC-4146-9C23-4F937D8237ED}"/>
              </a:ext>
            </a:extLst>
          </p:cNvPr>
          <p:cNvSpPr txBox="1">
            <a:spLocks/>
          </p:cNvSpPr>
          <p:nvPr/>
        </p:nvSpPr>
        <p:spPr>
          <a:xfrm>
            <a:off x="5058346" y="1342367"/>
            <a:ext cx="198839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fehlung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193613D-A19C-431B-B973-BE92C826CD9A}"/>
              </a:ext>
            </a:extLst>
          </p:cNvPr>
          <p:cNvSpPr txBox="1">
            <a:spLocks/>
          </p:cNvSpPr>
          <p:nvPr/>
        </p:nvSpPr>
        <p:spPr>
          <a:xfrm>
            <a:off x="2122277" y="1342367"/>
            <a:ext cx="22626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ergrundinformationen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B02DB75-B291-4783-909F-A49B62214BFC}"/>
              </a:ext>
            </a:extLst>
          </p:cNvPr>
          <p:cNvSpPr txBox="1">
            <a:spLocks/>
          </p:cNvSpPr>
          <p:nvPr/>
        </p:nvSpPr>
        <p:spPr>
          <a:xfrm>
            <a:off x="7383439" y="1342367"/>
            <a:ext cx="14324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antwortlichkei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681D787-869B-4819-8577-7DB3080BFC29}"/>
              </a:ext>
            </a:extLst>
          </p:cNvPr>
          <p:cNvSpPr txBox="1">
            <a:spLocks/>
          </p:cNvSpPr>
          <p:nvPr/>
        </p:nvSpPr>
        <p:spPr>
          <a:xfrm>
            <a:off x="5058346" y="1628289"/>
            <a:ext cx="198839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Herstellung des Erstkontakts durch Umsetzungs-koordinator*in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8E1E488-3DDA-444C-838C-ADCCE0A91482}"/>
              </a:ext>
            </a:extLst>
          </p:cNvPr>
          <p:cNvSpPr txBox="1">
            <a:spLocks/>
          </p:cNvSpPr>
          <p:nvPr/>
        </p:nvSpPr>
        <p:spPr>
          <a:xfrm>
            <a:off x="7383439" y="1628289"/>
            <a:ext cx="14324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Fr. Musterfrau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C641301-A3D3-4050-B8AD-164C4AEBB1DB}"/>
              </a:ext>
            </a:extLst>
          </p:cNvPr>
          <p:cNvSpPr txBox="1">
            <a:spLocks/>
          </p:cNvSpPr>
          <p:nvPr/>
        </p:nvSpPr>
        <p:spPr>
          <a:xfrm>
            <a:off x="5058346" y="2612967"/>
            <a:ext cx="198839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Umsetzungskoordinator*in vereinbart Termine und unterstützt bei der Validierung der Ergebniss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4D5F67-72D7-4AD0-B6A4-E6E3D8391BCD}"/>
              </a:ext>
            </a:extLst>
          </p:cNvPr>
          <p:cNvSpPr txBox="1">
            <a:spLocks/>
          </p:cNvSpPr>
          <p:nvPr/>
        </p:nvSpPr>
        <p:spPr>
          <a:xfrm>
            <a:off x="2122277" y="2612967"/>
            <a:ext cx="226267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Kontaktaufnahme zu den Unteren Behörden ausstehend; Vereinbarung von Gesprächen/ Interviews ausstehend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F9B4BC6-E3E2-42F6-A354-DAD5298FEA3B}"/>
              </a:ext>
            </a:extLst>
          </p:cNvPr>
          <p:cNvSpPr txBox="1">
            <a:spLocks/>
          </p:cNvSpPr>
          <p:nvPr/>
        </p:nvSpPr>
        <p:spPr>
          <a:xfrm>
            <a:off x="7383439" y="2612967"/>
            <a:ext cx="14324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Hr. Mustermann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423F47F-BA6F-4A79-8D8C-214CD8DE5065}"/>
              </a:ext>
            </a:extLst>
          </p:cNvPr>
          <p:cNvSpPr txBox="1">
            <a:spLocks/>
          </p:cNvSpPr>
          <p:nvPr/>
        </p:nvSpPr>
        <p:spPr>
          <a:xfrm>
            <a:off x="487361" y="2612967"/>
            <a:ext cx="1525683" cy="8617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-Analyse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EC471-1A6D-4156-ABE3-AC26B96EEAE3}"/>
              </a:ext>
            </a:extLst>
          </p:cNvPr>
          <p:cNvSpPr txBox="1">
            <a:spLocks/>
          </p:cNvSpPr>
          <p:nvPr/>
        </p:nvSpPr>
        <p:spPr>
          <a:xfrm>
            <a:off x="5058346" y="3597646"/>
            <a:ext cx="19883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Herstellung des Erstkontakts durch OZG-Koordinator*i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21A197F-1A1E-4501-A619-16EF2531FA65}"/>
              </a:ext>
            </a:extLst>
          </p:cNvPr>
          <p:cNvSpPr txBox="1">
            <a:spLocks/>
          </p:cNvSpPr>
          <p:nvPr/>
        </p:nvSpPr>
        <p:spPr>
          <a:xfrm>
            <a:off x="2122277" y="3597646"/>
            <a:ext cx="226267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Prüfung von potentiellen Schnittmengen zum Themenfeld XX; bislang keine Rückmeldung der Verantwortlichen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C5B09A93-4F5B-4F78-BD1F-DB8497DEC15D}"/>
              </a:ext>
            </a:extLst>
          </p:cNvPr>
          <p:cNvSpPr txBox="1">
            <a:spLocks/>
          </p:cNvSpPr>
          <p:nvPr/>
        </p:nvSpPr>
        <p:spPr>
          <a:xfrm>
            <a:off x="7383439" y="3597646"/>
            <a:ext cx="14324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Hr. Mustermann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5B799CB-9062-458D-9825-364C43BD7FF7}"/>
              </a:ext>
            </a:extLst>
          </p:cNvPr>
          <p:cNvSpPr txBox="1">
            <a:spLocks/>
          </p:cNvSpPr>
          <p:nvPr/>
        </p:nvSpPr>
        <p:spPr>
          <a:xfrm>
            <a:off x="2122277" y="1628289"/>
            <a:ext cx="2262677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Kontaktaufnahme zur Oberen Behörde; Verantwortlichkeit in der Behörde unklar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B257F5D-68D5-4402-A873-30285B58B3AC}"/>
              </a:ext>
            </a:extLst>
          </p:cNvPr>
          <p:cNvSpPr txBox="1">
            <a:spLocks/>
          </p:cNvSpPr>
          <p:nvPr/>
        </p:nvSpPr>
        <p:spPr>
          <a:xfrm>
            <a:off x="487361" y="1628289"/>
            <a:ext cx="1525683" cy="8617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kation und Besetzung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8D88AD9-839C-4A15-BE5C-657F217DEFE1}"/>
              </a:ext>
            </a:extLst>
          </p:cNvPr>
          <p:cNvSpPr txBox="1">
            <a:spLocks/>
          </p:cNvSpPr>
          <p:nvPr/>
        </p:nvSpPr>
        <p:spPr>
          <a:xfrm>
            <a:off x="487361" y="3597646"/>
            <a:ext cx="1525683" cy="8617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aktaufnahme Themenfeld XX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D7C3E570-C2E3-4CF8-92EB-DB5A17BD0DE1}"/>
              </a:ext>
            </a:extLst>
          </p:cNvPr>
          <p:cNvSpPr txBox="1">
            <a:spLocks/>
          </p:cNvSpPr>
          <p:nvPr/>
        </p:nvSpPr>
        <p:spPr>
          <a:xfrm>
            <a:off x="487361" y="1342367"/>
            <a:ext cx="152568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9FCE51F4-4A52-4DCF-ABA0-6143565D965F}"/>
              </a:ext>
            </a:extLst>
          </p:cNvPr>
          <p:cNvCxnSpPr>
            <a:cxnSpLocks/>
          </p:cNvCxnSpPr>
          <p:nvPr/>
        </p:nvCxnSpPr>
        <p:spPr>
          <a:xfrm>
            <a:off x="4721650" y="1628289"/>
            <a:ext cx="0" cy="283113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DD2FFF7-0490-4A73-A2FD-6C50C71DA01F}"/>
              </a:ext>
            </a:extLst>
          </p:cNvPr>
          <p:cNvCxnSpPr>
            <a:cxnSpLocks/>
          </p:cNvCxnSpPr>
          <p:nvPr/>
        </p:nvCxnSpPr>
        <p:spPr bwMode="gray">
          <a:xfrm>
            <a:off x="5058346" y="2551515"/>
            <a:ext cx="375756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2A552AC-69AF-469E-A036-62A05B84E600}"/>
              </a:ext>
            </a:extLst>
          </p:cNvPr>
          <p:cNvCxnSpPr>
            <a:cxnSpLocks/>
          </p:cNvCxnSpPr>
          <p:nvPr/>
        </p:nvCxnSpPr>
        <p:spPr bwMode="gray">
          <a:xfrm>
            <a:off x="5058346" y="3536193"/>
            <a:ext cx="375756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8688C47-3632-4B17-9CAD-458F86A286D6}"/>
              </a:ext>
            </a:extLst>
          </p:cNvPr>
          <p:cNvGrpSpPr/>
          <p:nvPr>
            <p:custDataLst>
              <p:tags r:id="rId4"/>
            </p:custDataLst>
          </p:nvPr>
        </p:nvGrpSpPr>
        <p:grpSpPr bwMode="gray">
          <a:xfrm>
            <a:off x="4520778" y="2779378"/>
            <a:ext cx="401744" cy="528952"/>
            <a:chOff x="4015770" y="4870640"/>
            <a:chExt cx="338248" cy="468123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5795A37-CCBD-454D-9299-5B412F54E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770" y="4870640"/>
              <a:ext cx="338248" cy="46812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9973" tIns="34987" rIns="69973" bIns="34987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99722"/>
              <a:endPara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4E4E4E1-C3DB-4F8D-B613-56FEE917D1AD}"/>
                </a:ext>
              </a:extLst>
            </p:cNvPr>
            <p:cNvGrpSpPr/>
            <p:nvPr/>
          </p:nvGrpSpPr>
          <p:grpSpPr bwMode="gray">
            <a:xfrm>
              <a:off x="4028548" y="4914160"/>
              <a:ext cx="312692" cy="381083"/>
              <a:chOff x="4455354" y="5002096"/>
              <a:chExt cx="312692" cy="381083"/>
            </a:xfrm>
          </p:grpSpPr>
          <p:sp>
            <p:nvSpPr>
              <p:cNvPr id="57" name="Chevron 5">
                <a:extLst>
                  <a:ext uri="{FF2B5EF4-FFF2-40B4-BE49-F238E27FC236}">
                    <a16:creationId xmlns:a16="http://schemas.microsoft.com/office/drawing/2014/main" id="{A91007C2-5E84-466E-B946-E6C76EF79E50}"/>
                  </a:ext>
                </a:extLst>
              </p:cNvPr>
              <p:cNvSpPr/>
              <p:nvPr/>
            </p:nvSpPr>
            <p:spPr bwMode="gray">
              <a:xfrm>
                <a:off x="4455354" y="5053820"/>
                <a:ext cx="163405" cy="277635"/>
              </a:xfrm>
              <a:prstGeom prst="chevron">
                <a:avLst>
                  <a:gd name="adj" fmla="val 52914"/>
                </a:avLst>
              </a:prstGeom>
              <a:solidFill>
                <a:schemeClr val="accent6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73" tIns="34987" rIns="69973" bIns="34987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722"/>
                <a:endParaRPr lang="en-US" sz="9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Chevron 6">
                <a:extLst>
                  <a:ext uri="{FF2B5EF4-FFF2-40B4-BE49-F238E27FC236}">
                    <a16:creationId xmlns:a16="http://schemas.microsoft.com/office/drawing/2014/main" id="{D2695CDB-0733-4D20-9BA6-6576A318FDAF}"/>
                  </a:ext>
                </a:extLst>
              </p:cNvPr>
              <p:cNvSpPr/>
              <p:nvPr/>
            </p:nvSpPr>
            <p:spPr bwMode="gray">
              <a:xfrm>
                <a:off x="4543756" y="5002096"/>
                <a:ext cx="224290" cy="381083"/>
              </a:xfrm>
              <a:prstGeom prst="chevron">
                <a:avLst>
                  <a:gd name="adj" fmla="val 52914"/>
                </a:avLst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73" tIns="34987" rIns="69973" bIns="34987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722"/>
                <a:endParaRPr lang="en-US" sz="9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41" name="sticker">
            <a:extLst>
              <a:ext uri="{FF2B5EF4-FFF2-40B4-BE49-F238E27FC236}">
                <a16:creationId xmlns:a16="http://schemas.microsoft.com/office/drawing/2014/main" id="{70D13377-D378-4FC3-810C-43D1FB7D2E8B}"/>
              </a:ext>
            </a:extLst>
          </p:cNvPr>
          <p:cNvGrpSpPr/>
          <p:nvPr/>
        </p:nvGrpSpPr>
        <p:grpSpPr>
          <a:xfrm>
            <a:off x="8187537" y="713536"/>
            <a:ext cx="628377" cy="226058"/>
            <a:chOff x="8182508" y="713536"/>
            <a:chExt cx="628377" cy="226058"/>
          </a:xfrm>
        </p:grpSpPr>
        <p:sp>
          <p:nvSpPr>
            <p:cNvPr id="42" name="StickerRectangle">
              <a:extLst>
                <a:ext uri="{FF2B5EF4-FFF2-40B4-BE49-F238E27FC236}">
                  <a16:creationId xmlns:a16="http://schemas.microsoft.com/office/drawing/2014/main" id="{FCA82398-C430-444E-B40A-9C409C280FE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3" name="AutoShape 32">
              <a:extLst>
                <a:ext uri="{FF2B5EF4-FFF2-40B4-BE49-F238E27FC236}">
                  <a16:creationId xmlns:a16="http://schemas.microsoft.com/office/drawing/2014/main" id="{7660F05D-E74F-4796-A1DE-57BC4FF6FD53}"/>
                </a:ext>
              </a:extLst>
            </p:cNvPr>
            <p:cNvCxnSpPr>
              <a:cxnSpLocks noChangeShapeType="1"/>
              <a:stCxn id="42" idx="4"/>
              <a:endCxn id="42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>
              <a:extLst>
                <a:ext uri="{FF2B5EF4-FFF2-40B4-BE49-F238E27FC236}">
                  <a16:creationId xmlns:a16="http://schemas.microsoft.com/office/drawing/2014/main" id="{1917D032-879D-4DF8-AE95-D77FCD3B7484}"/>
                </a:ext>
              </a:extLst>
            </p:cNvPr>
            <p:cNvCxnSpPr>
              <a:cxnSpLocks noChangeShapeType="1"/>
              <a:stCxn id="42" idx="2"/>
              <a:endCxn id="42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246032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BC1B6E-551C-490B-915B-251D5BE2AA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550820"/>
              </p:ext>
            </p:extLst>
          </p:nvPr>
        </p:nvGraphicFramePr>
        <p:xfrm>
          <a:off x="1656" y="16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BC1B6E-551C-490B-915B-251D5BE2A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56" y="16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FC92CE-40DD-4DE0-ACE4-0FB79B70C7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83FB57-ABC7-4743-9FE8-F65F7EC77E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estlegung der nächsten Schritt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43C2CF0-C0E8-4955-9B41-747AD4326008}"/>
              </a:ext>
            </a:extLst>
          </p:cNvPr>
          <p:cNvSpPr txBox="1">
            <a:spLocks/>
          </p:cNvSpPr>
          <p:nvPr/>
        </p:nvSpPr>
        <p:spPr>
          <a:xfrm>
            <a:off x="7910635" y="1136910"/>
            <a:ext cx="9052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datum 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FCB07EB-4195-429B-892C-27F01E065FE8}"/>
              </a:ext>
            </a:extLst>
          </p:cNvPr>
          <p:cNvSpPr txBox="1">
            <a:spLocks/>
          </p:cNvSpPr>
          <p:nvPr/>
        </p:nvSpPr>
        <p:spPr>
          <a:xfrm>
            <a:off x="5743827" y="1136910"/>
            <a:ext cx="15886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antwortliche/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D75B853-58F5-44FE-825F-31ABD70E71C5}"/>
              </a:ext>
            </a:extLst>
          </p:cNvPr>
          <p:cNvGrpSpPr/>
          <p:nvPr/>
        </p:nvGrpSpPr>
        <p:grpSpPr>
          <a:xfrm>
            <a:off x="-2" y="3849714"/>
            <a:ext cx="9143999" cy="665544"/>
            <a:chOff x="0" y="2235218"/>
            <a:chExt cx="9143999" cy="665544"/>
          </a:xfrm>
        </p:grpSpPr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2F0E4A7D-D23C-49E7-BB79-292E1FFD4F1C}"/>
                </a:ext>
              </a:extLst>
            </p:cNvPr>
            <p:cNvSpPr>
              <a:spLocks/>
            </p:cNvSpPr>
            <p:nvPr/>
          </p:nvSpPr>
          <p:spPr>
            <a:xfrm>
              <a:off x="0" y="2235218"/>
              <a:ext cx="9143999" cy="665544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49A5F964-63E7-4208-8A66-44E2540753B5}"/>
                </a:ext>
              </a:extLst>
            </p:cNvPr>
            <p:cNvSpPr txBox="1">
              <a:spLocks/>
            </p:cNvSpPr>
            <p:nvPr/>
          </p:nvSpPr>
          <p:spPr>
            <a:xfrm>
              <a:off x="7910635" y="2460268"/>
              <a:ext cx="90527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. Okt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E5C284B-E2D7-470B-B822-E5AFF632BDF5}"/>
                </a:ext>
              </a:extLst>
            </p:cNvPr>
            <p:cNvSpPr txBox="1">
              <a:spLocks/>
            </p:cNvSpPr>
            <p:nvPr/>
          </p:nvSpPr>
          <p:spPr>
            <a:xfrm>
              <a:off x="487361" y="2352547"/>
              <a:ext cx="467831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ugang zur Unteren Behörde zur Durchführung</a:t>
              </a:r>
            </a:p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r IST-Analyse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D1601968-E4AB-46E4-B4FD-0C9E6AFDCF03}"/>
                </a:ext>
              </a:extLst>
            </p:cNvPr>
            <p:cNvSpPr txBox="1">
              <a:spLocks/>
            </p:cNvSpPr>
            <p:nvPr/>
          </p:nvSpPr>
          <p:spPr>
            <a:xfrm>
              <a:off x="5743827" y="2460268"/>
              <a:ext cx="158865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. Musterfrau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0EF732D-FFD0-4A3C-BA66-6B5FBEFB0330}"/>
              </a:ext>
            </a:extLst>
          </p:cNvPr>
          <p:cNvGrpSpPr/>
          <p:nvPr/>
        </p:nvGrpSpPr>
        <p:grpSpPr>
          <a:xfrm>
            <a:off x="-2" y="3047461"/>
            <a:ext cx="9143999" cy="665544"/>
            <a:chOff x="0" y="1403011"/>
            <a:chExt cx="9143999" cy="665544"/>
          </a:xfrm>
        </p:grpSpPr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0540B3CA-B999-4972-BFAC-A60AD64A5601}"/>
                </a:ext>
              </a:extLst>
            </p:cNvPr>
            <p:cNvSpPr>
              <a:spLocks/>
            </p:cNvSpPr>
            <p:nvPr/>
          </p:nvSpPr>
          <p:spPr>
            <a:xfrm>
              <a:off x="0" y="1403011"/>
              <a:ext cx="9143999" cy="665544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1215FD8-22C6-4FF2-A97B-3E7320912498}"/>
                </a:ext>
              </a:extLst>
            </p:cNvPr>
            <p:cNvSpPr txBox="1">
              <a:spLocks/>
            </p:cNvSpPr>
            <p:nvPr/>
          </p:nvSpPr>
          <p:spPr>
            <a:xfrm>
              <a:off x="7910635" y="1628061"/>
              <a:ext cx="90527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5</a:t>
              </a:r>
              <a:r>
                <a:rPr lang="de-DE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Okt</a:t>
              </a:r>
              <a:endPara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F8971B82-1F39-432E-A84B-7692ACD83FD4}"/>
                </a:ext>
              </a:extLst>
            </p:cNvPr>
            <p:cNvSpPr txBox="1">
              <a:spLocks/>
            </p:cNvSpPr>
            <p:nvPr/>
          </p:nvSpPr>
          <p:spPr>
            <a:xfrm>
              <a:off x="487361" y="1520340"/>
              <a:ext cx="467831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frage bei Oberer Behörde zur Identifikation von</a:t>
              </a:r>
            </a:p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istungsverantwortlichen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1008D54F-A358-4B1D-B5DD-799076F373CD}"/>
                </a:ext>
              </a:extLst>
            </p:cNvPr>
            <p:cNvSpPr txBox="1">
              <a:spLocks/>
            </p:cNvSpPr>
            <p:nvPr/>
          </p:nvSpPr>
          <p:spPr>
            <a:xfrm>
              <a:off x="5743827" y="1628061"/>
              <a:ext cx="158865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r. Mustermann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2466379-C05E-4BD5-AA07-CCDDD12B2580}"/>
              </a:ext>
            </a:extLst>
          </p:cNvPr>
          <p:cNvGrpSpPr/>
          <p:nvPr/>
        </p:nvGrpSpPr>
        <p:grpSpPr>
          <a:xfrm>
            <a:off x="-2" y="1442955"/>
            <a:ext cx="9143999" cy="665544"/>
            <a:chOff x="0" y="3067425"/>
            <a:chExt cx="9143999" cy="665544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AF3D49D-41B1-4A06-B0A5-84F094F21C41}"/>
                </a:ext>
              </a:extLst>
            </p:cNvPr>
            <p:cNvSpPr>
              <a:spLocks/>
            </p:cNvSpPr>
            <p:nvPr/>
          </p:nvSpPr>
          <p:spPr>
            <a:xfrm>
              <a:off x="0" y="3067425"/>
              <a:ext cx="9143999" cy="665544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8C2C286C-A9A5-42F2-8041-36F70C47329D}"/>
                </a:ext>
              </a:extLst>
            </p:cNvPr>
            <p:cNvSpPr txBox="1">
              <a:spLocks/>
            </p:cNvSpPr>
            <p:nvPr/>
          </p:nvSpPr>
          <p:spPr>
            <a:xfrm>
              <a:off x="7910635" y="3292475"/>
              <a:ext cx="90527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 Okt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B067B47E-32ED-4C43-A224-147DAEEB6FDA}"/>
                </a:ext>
              </a:extLst>
            </p:cNvPr>
            <p:cNvSpPr txBox="1">
              <a:spLocks/>
            </p:cNvSpPr>
            <p:nvPr/>
          </p:nvSpPr>
          <p:spPr>
            <a:xfrm>
              <a:off x="487361" y="3184754"/>
              <a:ext cx="467831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ntaktaufnahme mit dem Themenfeld "XX"  zur Prüfung der Verschiebung der Leistung "</a:t>
              </a:r>
              <a:r>
                <a:rPr lang="de-DE" sz="1400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sterLeistung</a:t>
              </a:r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"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82567C5-7956-412C-B4E8-C945DC563AE8}"/>
                </a:ext>
              </a:extLst>
            </p:cNvPr>
            <p:cNvSpPr txBox="1">
              <a:spLocks/>
            </p:cNvSpPr>
            <p:nvPr/>
          </p:nvSpPr>
          <p:spPr>
            <a:xfrm>
              <a:off x="5743827" y="3292475"/>
              <a:ext cx="158865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r. Mustermann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AB3BB85-7D40-431A-8694-8E804AEDCE58}"/>
              </a:ext>
            </a:extLst>
          </p:cNvPr>
          <p:cNvGrpSpPr/>
          <p:nvPr/>
        </p:nvGrpSpPr>
        <p:grpSpPr>
          <a:xfrm>
            <a:off x="-2" y="2245208"/>
            <a:ext cx="9143999" cy="665544"/>
            <a:chOff x="0" y="3899633"/>
            <a:chExt cx="9143999" cy="665544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AA3B14E3-CACA-4DF6-959F-D87CF746A239}"/>
                </a:ext>
              </a:extLst>
            </p:cNvPr>
            <p:cNvSpPr>
              <a:spLocks/>
            </p:cNvSpPr>
            <p:nvPr/>
          </p:nvSpPr>
          <p:spPr>
            <a:xfrm>
              <a:off x="0" y="3899633"/>
              <a:ext cx="9143999" cy="665544"/>
            </a:xfrm>
            <a:prstGeom prst="rect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57A3307-3FD9-4FBE-A7C2-4253920681A6}"/>
                </a:ext>
              </a:extLst>
            </p:cNvPr>
            <p:cNvSpPr txBox="1">
              <a:spLocks/>
            </p:cNvSpPr>
            <p:nvPr/>
          </p:nvSpPr>
          <p:spPr>
            <a:xfrm>
              <a:off x="487361" y="4016962"/>
              <a:ext cx="4678317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alyse möglicher Zusammenarbeit mit dem Themenfeld "XX"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E554BF0A-E897-4E64-A8D6-76DA0DEABEF7}"/>
                </a:ext>
              </a:extLst>
            </p:cNvPr>
            <p:cNvSpPr txBox="1">
              <a:spLocks/>
            </p:cNvSpPr>
            <p:nvPr/>
          </p:nvSpPr>
          <p:spPr>
            <a:xfrm>
              <a:off x="7910635" y="4124683"/>
              <a:ext cx="90527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r>
                <a:rPr lang="de-DE" sz="140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Okt</a:t>
              </a:r>
              <a:endParaRPr 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9D9D0731-E0CB-447B-805B-3F332DE7DC35}"/>
                </a:ext>
              </a:extLst>
            </p:cNvPr>
            <p:cNvSpPr txBox="1">
              <a:spLocks/>
            </p:cNvSpPr>
            <p:nvPr/>
          </p:nvSpPr>
          <p:spPr>
            <a:xfrm>
              <a:off x="5743827" y="4124683"/>
              <a:ext cx="1588659" cy="21544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4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. Musterfrau</a:t>
              </a:r>
            </a:p>
          </p:txBody>
        </p:sp>
      </p:grpSp>
      <p:grpSp>
        <p:nvGrpSpPr>
          <p:cNvPr id="96" name="sticker">
            <a:extLst>
              <a:ext uri="{FF2B5EF4-FFF2-40B4-BE49-F238E27FC236}">
                <a16:creationId xmlns:a16="http://schemas.microsoft.com/office/drawing/2014/main" id="{7FC969D4-EF8E-4055-9C6E-CB7875F3C3CB}"/>
              </a:ext>
            </a:extLst>
          </p:cNvPr>
          <p:cNvGrpSpPr/>
          <p:nvPr/>
        </p:nvGrpSpPr>
        <p:grpSpPr>
          <a:xfrm>
            <a:off x="8187537" y="713536"/>
            <a:ext cx="628377" cy="226058"/>
            <a:chOff x="8182508" y="713536"/>
            <a:chExt cx="628377" cy="226058"/>
          </a:xfrm>
        </p:grpSpPr>
        <p:sp>
          <p:nvSpPr>
            <p:cNvPr id="97" name="StickerRectangle">
              <a:extLst>
                <a:ext uri="{FF2B5EF4-FFF2-40B4-BE49-F238E27FC236}">
                  <a16:creationId xmlns:a16="http://schemas.microsoft.com/office/drawing/2014/main" id="{1C5BC2D5-5F1E-4B2D-B4E5-A9B2BAA8F2B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98" name="AutoShape 32">
              <a:extLst>
                <a:ext uri="{FF2B5EF4-FFF2-40B4-BE49-F238E27FC236}">
                  <a16:creationId xmlns:a16="http://schemas.microsoft.com/office/drawing/2014/main" id="{C3EB7D72-E448-4412-81F9-AD9473F84CB8}"/>
                </a:ext>
              </a:extLst>
            </p:cNvPr>
            <p:cNvCxnSpPr>
              <a:cxnSpLocks noChangeShapeType="1"/>
              <a:stCxn id="97" idx="4"/>
              <a:endCxn id="97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9" name="AutoShape 32">
              <a:extLst>
                <a:ext uri="{FF2B5EF4-FFF2-40B4-BE49-F238E27FC236}">
                  <a16:creationId xmlns:a16="http://schemas.microsoft.com/office/drawing/2014/main" id="{B5B42E7B-2CD5-4593-92B5-0E7AAB88923C}"/>
                </a:ext>
              </a:extLst>
            </p:cNvPr>
            <p:cNvCxnSpPr>
              <a:cxnSpLocks noChangeShapeType="1"/>
              <a:stCxn id="97" idx="2"/>
              <a:endCxn id="97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7508556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919D9B-F049-48C1-B08A-081571DAAE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56" y="162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919D9B-F049-48C1-B08A-081571DAA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56" y="162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DC38FD-E0EB-41E6-BCB7-0991BA1261D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9" y="112868"/>
            <a:ext cx="9143865" cy="5030594"/>
            <a:chOff x="1" y="112833"/>
            <a:chExt cx="9144000" cy="503066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DA21D6B-24FD-4FE9-8909-7ED1D96E09C1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802" b="8802"/>
            <a:stretch/>
          </p:blipFill>
          <p:spPr bwMode="gray">
            <a:xfrm flipH="1">
              <a:off x="1" y="112833"/>
              <a:ext cx="9144000" cy="5030668"/>
            </a:xfrm>
            <a:prstGeom prst="rect">
              <a:avLst/>
            </a:prstGeom>
          </p:spPr>
        </p:pic>
        <p:sp>
          <p:nvSpPr>
            <p:cNvPr id="12" name="Rectangle 11"/>
            <p:cNvSpPr>
              <a:spLocks/>
            </p:cNvSpPr>
            <p:nvPr/>
          </p:nvSpPr>
          <p:spPr>
            <a:xfrm>
              <a:off x="1" y="112833"/>
              <a:ext cx="1379381" cy="503066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0B66A34-5B02-4D10-884A-78566FB876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62" y="285784"/>
            <a:ext cx="8328552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orlage Steuerungskrei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681F651-A9CF-44DF-8423-A78F16E31F5C}"/>
              </a:ext>
            </a:extLst>
          </p:cNvPr>
          <p:cNvSpPr/>
          <p:nvPr/>
        </p:nvSpPr>
        <p:spPr>
          <a:xfrm>
            <a:off x="68" y="2020539"/>
            <a:ext cx="9143865" cy="153380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isierte "Vorlage Steuerungskreis"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475017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2128539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elsetzung des Steuerungskreises am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XX.XX.</a:t>
            </a:r>
          </a:p>
        </p:txBody>
      </p:sp>
      <p:sp>
        <p:nvSpPr>
          <p:cNvPr id="76" name="RectangleLegend1">
            <a:extLst>
              <a:ext uri="{FF2B5EF4-FFF2-40B4-BE49-F238E27FC236}">
                <a16:creationId xmlns:a16="http://schemas.microsoft.com/office/drawing/2014/main" id="{A9F5A294-4704-4148-B31E-BB13507BA5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69692" y="2013754"/>
            <a:ext cx="5646222" cy="4871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2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3558E43-E78D-46A9-BB65-8385995215EB}"/>
              </a:ext>
            </a:extLst>
          </p:cNvPr>
          <p:cNvCxnSpPr>
            <a:cxnSpLocks/>
          </p:cNvCxnSpPr>
          <p:nvPr/>
        </p:nvCxnSpPr>
        <p:spPr bwMode="gray">
          <a:xfrm>
            <a:off x="3169692" y="4449678"/>
            <a:ext cx="564622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4F3C85C-2B0E-4F4C-B305-93CBC65022B1}"/>
              </a:ext>
            </a:extLst>
          </p:cNvPr>
          <p:cNvCxnSpPr>
            <a:cxnSpLocks/>
          </p:cNvCxnSpPr>
          <p:nvPr/>
        </p:nvCxnSpPr>
        <p:spPr bwMode="gray">
          <a:xfrm>
            <a:off x="3169692" y="2013754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4D45711-A6CF-40CF-8E68-9F662DEE7D68}"/>
              </a:ext>
            </a:extLst>
          </p:cNvPr>
          <p:cNvCxnSpPr>
            <a:cxnSpLocks/>
          </p:cNvCxnSpPr>
          <p:nvPr/>
        </p:nvCxnSpPr>
        <p:spPr bwMode="gray">
          <a:xfrm>
            <a:off x="3169692" y="2500938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FA5EE2A-04F8-4225-B18A-930F6204DD6A}"/>
              </a:ext>
            </a:extLst>
          </p:cNvPr>
          <p:cNvCxnSpPr>
            <a:cxnSpLocks/>
          </p:cNvCxnSpPr>
          <p:nvPr/>
        </p:nvCxnSpPr>
        <p:spPr bwMode="gray">
          <a:xfrm>
            <a:off x="3169692" y="2988122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3AE3DAC-E886-4177-B37B-7F6FDC9C9B8D}"/>
              </a:ext>
            </a:extLst>
          </p:cNvPr>
          <p:cNvCxnSpPr>
            <a:cxnSpLocks/>
          </p:cNvCxnSpPr>
          <p:nvPr/>
        </p:nvCxnSpPr>
        <p:spPr bwMode="gray">
          <a:xfrm>
            <a:off x="3169692" y="3475306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0817402-2CD6-41EE-88B1-0B67601F531A}"/>
              </a:ext>
            </a:extLst>
          </p:cNvPr>
          <p:cNvCxnSpPr>
            <a:cxnSpLocks/>
          </p:cNvCxnSpPr>
          <p:nvPr/>
        </p:nvCxnSpPr>
        <p:spPr bwMode="gray">
          <a:xfrm>
            <a:off x="3169692" y="3962490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20A4C0E-10AC-4EDD-A48D-7C9F5BE704D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7362" y="1526570"/>
            <a:ext cx="2419611" cy="292310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Ziele des Steuerungskreises&gt;</a:t>
            </a:r>
          </a:p>
          <a:p>
            <a:pPr lvl="1">
              <a:spcBef>
                <a:spcPts val="300"/>
              </a:spcBef>
            </a:pPr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bstimmungsbedarfe&gt;</a:t>
            </a:r>
          </a:p>
          <a:p>
            <a:pPr lvl="1">
              <a:spcBef>
                <a:spcPts val="300"/>
              </a:spcBef>
            </a:pPr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Nächste Schritte&gt;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BB8677-9C48-4DD1-9D4A-957E0ABA07C0}"/>
              </a:ext>
            </a:extLst>
          </p:cNvPr>
          <p:cNvSpPr txBox="1">
            <a:spLocks/>
          </p:cNvSpPr>
          <p:nvPr/>
        </p:nvSpPr>
        <p:spPr>
          <a:xfrm>
            <a:off x="487362" y="1165702"/>
            <a:ext cx="2419611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ele des Gespräch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3AFD1E-7E25-4DA4-8BC6-E50FE563DD32}"/>
              </a:ext>
            </a:extLst>
          </p:cNvPr>
          <p:cNvSpPr txBox="1">
            <a:spLocks/>
          </p:cNvSpPr>
          <p:nvPr/>
        </p:nvSpPr>
        <p:spPr>
          <a:xfrm>
            <a:off x="7704161" y="1165702"/>
            <a:ext cx="1111753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006F7EF-6515-4C0C-9A36-56C8523466A6}"/>
              </a:ext>
            </a:extLst>
          </p:cNvPr>
          <p:cNvSpPr txBox="1">
            <a:spLocks/>
          </p:cNvSpPr>
          <p:nvPr/>
        </p:nvSpPr>
        <p:spPr>
          <a:xfrm>
            <a:off x="3169692" y="1165702"/>
            <a:ext cx="427175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AF547E9-6B78-4683-B3BB-088BAF0C9588}"/>
              </a:ext>
            </a:extLst>
          </p:cNvPr>
          <p:cNvSpPr txBox="1">
            <a:spLocks/>
          </p:cNvSpPr>
          <p:nvPr/>
        </p:nvSpPr>
        <p:spPr>
          <a:xfrm>
            <a:off x="7704161" y="1662440"/>
            <a:ext cx="111175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DF93284-4665-41E0-8223-69110AFE07D4}"/>
              </a:ext>
            </a:extLst>
          </p:cNvPr>
          <p:cNvSpPr txBox="1">
            <a:spLocks/>
          </p:cNvSpPr>
          <p:nvPr/>
        </p:nvSpPr>
        <p:spPr>
          <a:xfrm>
            <a:off x="3169692" y="1662440"/>
            <a:ext cx="42717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Zielsetzung des Steuerungskreises&gt;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7758F6E-7689-4865-89E7-7388C4CFE658}"/>
              </a:ext>
            </a:extLst>
          </p:cNvPr>
          <p:cNvSpPr txBox="1">
            <a:spLocks/>
          </p:cNvSpPr>
          <p:nvPr/>
        </p:nvSpPr>
        <p:spPr>
          <a:xfrm>
            <a:off x="7704161" y="3123992"/>
            <a:ext cx="111175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F8A6B9-B547-4A1A-9C83-90EF2C76A78A}"/>
              </a:ext>
            </a:extLst>
          </p:cNvPr>
          <p:cNvSpPr txBox="1">
            <a:spLocks/>
          </p:cNvSpPr>
          <p:nvPr/>
        </p:nvSpPr>
        <p:spPr>
          <a:xfrm>
            <a:off x="3169692" y="3123992"/>
            <a:ext cx="44078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bstimmung Themen mit Entscheidungsbedarf&gt;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76E6966-28F7-47C5-8E4D-2538470CB413}"/>
              </a:ext>
            </a:extLst>
          </p:cNvPr>
          <p:cNvSpPr txBox="1">
            <a:spLocks/>
          </p:cNvSpPr>
          <p:nvPr/>
        </p:nvSpPr>
        <p:spPr>
          <a:xfrm>
            <a:off x="7704161" y="2149624"/>
            <a:ext cx="111175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EE915B7-563D-42A5-BBF2-171EAF681935}"/>
              </a:ext>
            </a:extLst>
          </p:cNvPr>
          <p:cNvSpPr txBox="1">
            <a:spLocks/>
          </p:cNvSpPr>
          <p:nvPr/>
        </p:nvSpPr>
        <p:spPr>
          <a:xfrm>
            <a:off x="3169691" y="2149624"/>
            <a:ext cx="47451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uellen Projektaktivitäten&gt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9827460-EAF8-4783-B716-5811E41BF8C2}"/>
              </a:ext>
            </a:extLst>
          </p:cNvPr>
          <p:cNvSpPr txBox="1">
            <a:spLocks/>
          </p:cNvSpPr>
          <p:nvPr/>
        </p:nvSpPr>
        <p:spPr>
          <a:xfrm>
            <a:off x="7704161" y="4098360"/>
            <a:ext cx="111175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C4CB3C-3B7F-4D72-83AF-A10295FC6400}"/>
              </a:ext>
            </a:extLst>
          </p:cNvPr>
          <p:cNvSpPr txBox="1">
            <a:spLocks/>
          </p:cNvSpPr>
          <p:nvPr/>
        </p:nvSpPr>
        <p:spPr>
          <a:xfrm>
            <a:off x="3169692" y="4098360"/>
            <a:ext cx="42717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Festlegung der nächsten Schritte&gt;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AF9580-D056-4629-AFFA-470C247A6E4A}"/>
              </a:ext>
            </a:extLst>
          </p:cNvPr>
          <p:cNvSpPr txBox="1">
            <a:spLocks/>
          </p:cNvSpPr>
          <p:nvPr/>
        </p:nvSpPr>
        <p:spPr>
          <a:xfrm>
            <a:off x="7704161" y="2636808"/>
            <a:ext cx="111175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CCCE52F-12D4-49F3-A5F4-D9FCB6E13154}"/>
              </a:ext>
            </a:extLst>
          </p:cNvPr>
          <p:cNvSpPr txBox="1">
            <a:spLocks/>
          </p:cNvSpPr>
          <p:nvPr/>
        </p:nvSpPr>
        <p:spPr>
          <a:xfrm>
            <a:off x="3169692" y="2636808"/>
            <a:ext cx="42717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Darstellung der inhaltlichen Umsetzung&gt;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26F124-7850-4F07-92AA-D0B5D585A854}"/>
              </a:ext>
            </a:extLst>
          </p:cNvPr>
          <p:cNvSpPr txBox="1">
            <a:spLocks/>
          </p:cNvSpPr>
          <p:nvPr/>
        </p:nvSpPr>
        <p:spPr>
          <a:xfrm>
            <a:off x="7704161" y="3611176"/>
            <a:ext cx="111175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57517B6-C485-4F5F-B5FF-8A447A295DB7}"/>
              </a:ext>
            </a:extLst>
          </p:cNvPr>
          <p:cNvSpPr txBox="1">
            <a:spLocks/>
          </p:cNvSpPr>
          <p:nvPr/>
        </p:nvSpPr>
        <p:spPr>
          <a:xfrm>
            <a:off x="3169692" y="3611176"/>
            <a:ext cx="427175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dressierung von Unterstützungsbedarfen&gt;</a:t>
            </a:r>
          </a:p>
        </p:txBody>
      </p:sp>
      <p:sp>
        <p:nvSpPr>
          <p:cNvPr id="161" name="Freeform 7">
            <a:extLst>
              <a:ext uri="{FF2B5EF4-FFF2-40B4-BE49-F238E27FC236}">
                <a16:creationId xmlns:a16="http://schemas.microsoft.com/office/drawing/2014/main" id="{8A19ABC9-AD66-423F-B7A7-489BD024B8F1}"/>
              </a:ext>
            </a:extLst>
          </p:cNvPr>
          <p:cNvSpPr>
            <a:spLocks noChangeAspect="1"/>
          </p:cNvSpPr>
          <p:nvPr/>
        </p:nvSpPr>
        <p:spPr bwMode="gray">
          <a:xfrm>
            <a:off x="2587491" y="1217931"/>
            <a:ext cx="272390" cy="256410"/>
          </a:xfrm>
          <a:custGeom>
            <a:avLst/>
            <a:gdLst>
              <a:gd name="T0" fmla="*/ 166 w 166"/>
              <a:gd name="T1" fmla="*/ 55 h 156"/>
              <a:gd name="T2" fmla="*/ 147 w 166"/>
              <a:gd name="T3" fmla="*/ 55 h 156"/>
              <a:gd name="T4" fmla="*/ 131 w 166"/>
              <a:gd name="T5" fmla="*/ 64 h 156"/>
              <a:gd name="T6" fmla="*/ 127 w 166"/>
              <a:gd name="T7" fmla="*/ 71 h 156"/>
              <a:gd name="T8" fmla="*/ 91 w 166"/>
              <a:gd name="T9" fmla="*/ 71 h 156"/>
              <a:gd name="T10" fmla="*/ 77 w 166"/>
              <a:gd name="T11" fmla="*/ 59 h 156"/>
              <a:gd name="T12" fmla="*/ 62 w 166"/>
              <a:gd name="T13" fmla="*/ 78 h 156"/>
              <a:gd name="T14" fmla="*/ 77 w 166"/>
              <a:gd name="T15" fmla="*/ 97 h 156"/>
              <a:gd name="T16" fmla="*/ 91 w 166"/>
              <a:gd name="T17" fmla="*/ 85 h 156"/>
              <a:gd name="T18" fmla="*/ 99 w 166"/>
              <a:gd name="T19" fmla="*/ 85 h 156"/>
              <a:gd name="T20" fmla="*/ 91 w 166"/>
              <a:gd name="T21" fmla="*/ 102 h 156"/>
              <a:gd name="T22" fmla="*/ 73 w 166"/>
              <a:gd name="T23" fmla="*/ 112 h 156"/>
              <a:gd name="T24" fmla="*/ 54 w 166"/>
              <a:gd name="T25" fmla="*/ 102 h 156"/>
              <a:gd name="T26" fmla="*/ 47 w 166"/>
              <a:gd name="T27" fmla="*/ 78 h 156"/>
              <a:gd name="T28" fmla="*/ 54 w 166"/>
              <a:gd name="T29" fmla="*/ 54 h 156"/>
              <a:gd name="T30" fmla="*/ 73 w 166"/>
              <a:gd name="T31" fmla="*/ 44 h 156"/>
              <a:gd name="T32" fmla="*/ 91 w 166"/>
              <a:gd name="T33" fmla="*/ 54 h 156"/>
              <a:gd name="T34" fmla="*/ 97 w 166"/>
              <a:gd name="T35" fmla="*/ 66 h 156"/>
              <a:gd name="T36" fmla="*/ 103 w 166"/>
              <a:gd name="T37" fmla="*/ 66 h 156"/>
              <a:gd name="T38" fmla="*/ 69 w 166"/>
              <a:gd name="T39" fmla="*/ 32 h 156"/>
              <a:gd name="T40" fmla="*/ 33 w 166"/>
              <a:gd name="T41" fmla="*/ 78 h 156"/>
              <a:gd name="T42" fmla="*/ 69 w 166"/>
              <a:gd name="T43" fmla="*/ 124 h 156"/>
              <a:gd name="T44" fmla="*/ 104 w 166"/>
              <a:gd name="T45" fmla="*/ 85 h 156"/>
              <a:gd name="T46" fmla="*/ 113 w 166"/>
              <a:gd name="T47" fmla="*/ 85 h 156"/>
              <a:gd name="T48" fmla="*/ 99 w 166"/>
              <a:gd name="T49" fmla="*/ 122 h 156"/>
              <a:gd name="T50" fmla="*/ 65 w 166"/>
              <a:gd name="T51" fmla="*/ 140 h 156"/>
              <a:gd name="T52" fmla="*/ 31 w 166"/>
              <a:gd name="T53" fmla="*/ 122 h 156"/>
              <a:gd name="T54" fmla="*/ 17 w 166"/>
              <a:gd name="T55" fmla="*/ 78 h 156"/>
              <a:gd name="T56" fmla="*/ 31 w 166"/>
              <a:gd name="T57" fmla="*/ 34 h 156"/>
              <a:gd name="T58" fmla="*/ 65 w 166"/>
              <a:gd name="T59" fmla="*/ 16 h 156"/>
              <a:gd name="T60" fmla="*/ 99 w 166"/>
              <a:gd name="T61" fmla="*/ 34 h 156"/>
              <a:gd name="T62" fmla="*/ 112 w 166"/>
              <a:gd name="T63" fmla="*/ 66 h 156"/>
              <a:gd name="T64" fmla="*/ 121 w 166"/>
              <a:gd name="T65" fmla="*/ 66 h 156"/>
              <a:gd name="T66" fmla="*/ 61 w 166"/>
              <a:gd name="T67" fmla="*/ 0 h 156"/>
              <a:gd name="T68" fmla="*/ 0 w 166"/>
              <a:gd name="T69" fmla="*/ 78 h 156"/>
              <a:gd name="T70" fmla="*/ 61 w 166"/>
              <a:gd name="T71" fmla="*/ 156 h 156"/>
              <a:gd name="T72" fmla="*/ 121 w 166"/>
              <a:gd name="T73" fmla="*/ 85 h 156"/>
              <a:gd name="T74" fmla="*/ 127 w 166"/>
              <a:gd name="T75" fmla="*/ 85 h 156"/>
              <a:gd name="T76" fmla="*/ 131 w 166"/>
              <a:gd name="T77" fmla="*/ 92 h 156"/>
              <a:gd name="T78" fmla="*/ 147 w 166"/>
              <a:gd name="T79" fmla="*/ 101 h 156"/>
              <a:gd name="T80" fmla="*/ 166 w 166"/>
              <a:gd name="T81" fmla="*/ 101 h 156"/>
              <a:gd name="T82" fmla="*/ 155 w 166"/>
              <a:gd name="T83" fmla="*/ 78 h 156"/>
              <a:gd name="T84" fmla="*/ 166 w 166"/>
              <a:gd name="T85" fmla="*/ 55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6" h="156">
                <a:moveTo>
                  <a:pt x="166" y="55"/>
                </a:moveTo>
                <a:cubicBezTo>
                  <a:pt x="147" y="55"/>
                  <a:pt x="147" y="55"/>
                  <a:pt x="147" y="55"/>
                </a:cubicBezTo>
                <a:cubicBezTo>
                  <a:pt x="141" y="55"/>
                  <a:pt x="134" y="59"/>
                  <a:pt x="131" y="64"/>
                </a:cubicBezTo>
                <a:cubicBezTo>
                  <a:pt x="127" y="71"/>
                  <a:pt x="127" y="71"/>
                  <a:pt x="127" y="71"/>
                </a:cubicBezTo>
                <a:cubicBezTo>
                  <a:pt x="91" y="71"/>
                  <a:pt x="91" y="71"/>
                  <a:pt x="91" y="71"/>
                </a:cubicBezTo>
                <a:cubicBezTo>
                  <a:pt x="88" y="64"/>
                  <a:pt x="83" y="59"/>
                  <a:pt x="77" y="59"/>
                </a:cubicBezTo>
                <a:cubicBezTo>
                  <a:pt x="69" y="59"/>
                  <a:pt x="62" y="68"/>
                  <a:pt x="62" y="78"/>
                </a:cubicBezTo>
                <a:cubicBezTo>
                  <a:pt x="62" y="88"/>
                  <a:pt x="69" y="97"/>
                  <a:pt x="77" y="97"/>
                </a:cubicBezTo>
                <a:cubicBezTo>
                  <a:pt x="83" y="97"/>
                  <a:pt x="88" y="92"/>
                  <a:pt x="91" y="85"/>
                </a:cubicBezTo>
                <a:cubicBezTo>
                  <a:pt x="99" y="85"/>
                  <a:pt x="99" y="85"/>
                  <a:pt x="99" y="85"/>
                </a:cubicBezTo>
                <a:cubicBezTo>
                  <a:pt x="97" y="91"/>
                  <a:pt x="95" y="97"/>
                  <a:pt x="91" y="102"/>
                </a:cubicBezTo>
                <a:cubicBezTo>
                  <a:pt x="87" y="108"/>
                  <a:pt x="80" y="112"/>
                  <a:pt x="73" y="112"/>
                </a:cubicBezTo>
                <a:cubicBezTo>
                  <a:pt x="66" y="112"/>
                  <a:pt x="59" y="108"/>
                  <a:pt x="54" y="102"/>
                </a:cubicBezTo>
                <a:cubicBezTo>
                  <a:pt x="50" y="96"/>
                  <a:pt x="47" y="87"/>
                  <a:pt x="47" y="78"/>
                </a:cubicBezTo>
                <a:cubicBezTo>
                  <a:pt x="47" y="69"/>
                  <a:pt x="50" y="60"/>
                  <a:pt x="54" y="54"/>
                </a:cubicBezTo>
                <a:cubicBezTo>
                  <a:pt x="59" y="48"/>
                  <a:pt x="66" y="44"/>
                  <a:pt x="73" y="44"/>
                </a:cubicBezTo>
                <a:cubicBezTo>
                  <a:pt x="80" y="44"/>
                  <a:pt x="87" y="48"/>
                  <a:pt x="91" y="54"/>
                </a:cubicBezTo>
                <a:cubicBezTo>
                  <a:pt x="94" y="57"/>
                  <a:pt x="96" y="61"/>
                  <a:pt x="97" y="66"/>
                </a:cubicBezTo>
                <a:cubicBezTo>
                  <a:pt x="103" y="66"/>
                  <a:pt x="103" y="66"/>
                  <a:pt x="103" y="66"/>
                </a:cubicBezTo>
                <a:cubicBezTo>
                  <a:pt x="99" y="47"/>
                  <a:pt x="85" y="32"/>
                  <a:pt x="69" y="32"/>
                </a:cubicBezTo>
                <a:cubicBezTo>
                  <a:pt x="49" y="32"/>
                  <a:pt x="33" y="53"/>
                  <a:pt x="33" y="78"/>
                </a:cubicBezTo>
                <a:cubicBezTo>
                  <a:pt x="33" y="103"/>
                  <a:pt x="49" y="124"/>
                  <a:pt x="69" y="124"/>
                </a:cubicBezTo>
                <a:cubicBezTo>
                  <a:pt x="87" y="124"/>
                  <a:pt x="101" y="107"/>
                  <a:pt x="104" y="85"/>
                </a:cubicBezTo>
                <a:cubicBezTo>
                  <a:pt x="113" y="85"/>
                  <a:pt x="113" y="85"/>
                  <a:pt x="113" y="85"/>
                </a:cubicBezTo>
                <a:cubicBezTo>
                  <a:pt x="112" y="99"/>
                  <a:pt x="107" y="112"/>
                  <a:pt x="99" y="122"/>
                </a:cubicBezTo>
                <a:cubicBezTo>
                  <a:pt x="90" y="133"/>
                  <a:pt x="78" y="140"/>
                  <a:pt x="65" y="140"/>
                </a:cubicBezTo>
                <a:cubicBezTo>
                  <a:pt x="52" y="140"/>
                  <a:pt x="40" y="133"/>
                  <a:pt x="31" y="122"/>
                </a:cubicBezTo>
                <a:cubicBezTo>
                  <a:pt x="22" y="111"/>
                  <a:pt x="17" y="95"/>
                  <a:pt x="17" y="78"/>
                </a:cubicBezTo>
                <a:cubicBezTo>
                  <a:pt x="17" y="61"/>
                  <a:pt x="22" y="45"/>
                  <a:pt x="31" y="34"/>
                </a:cubicBezTo>
                <a:cubicBezTo>
                  <a:pt x="40" y="23"/>
                  <a:pt x="52" y="16"/>
                  <a:pt x="65" y="16"/>
                </a:cubicBezTo>
                <a:cubicBezTo>
                  <a:pt x="78" y="16"/>
                  <a:pt x="90" y="23"/>
                  <a:pt x="99" y="34"/>
                </a:cubicBezTo>
                <a:cubicBezTo>
                  <a:pt x="106" y="43"/>
                  <a:pt x="110" y="54"/>
                  <a:pt x="112" y="66"/>
                </a:cubicBezTo>
                <a:cubicBezTo>
                  <a:pt x="121" y="66"/>
                  <a:pt x="121" y="66"/>
                  <a:pt x="121" y="66"/>
                </a:cubicBezTo>
                <a:cubicBezTo>
                  <a:pt x="116" y="29"/>
                  <a:pt x="91" y="0"/>
                  <a:pt x="61" y="0"/>
                </a:cubicBezTo>
                <a:cubicBezTo>
                  <a:pt x="27" y="0"/>
                  <a:pt x="0" y="35"/>
                  <a:pt x="0" y="78"/>
                </a:cubicBezTo>
                <a:cubicBezTo>
                  <a:pt x="0" y="121"/>
                  <a:pt x="27" y="156"/>
                  <a:pt x="61" y="156"/>
                </a:cubicBezTo>
                <a:cubicBezTo>
                  <a:pt x="93" y="156"/>
                  <a:pt x="119" y="125"/>
                  <a:pt x="121" y="85"/>
                </a:cubicBezTo>
                <a:cubicBezTo>
                  <a:pt x="127" y="85"/>
                  <a:pt x="127" y="85"/>
                  <a:pt x="127" y="85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4" y="97"/>
                  <a:pt x="141" y="101"/>
                  <a:pt x="147" y="101"/>
                </a:cubicBezTo>
                <a:cubicBezTo>
                  <a:pt x="166" y="101"/>
                  <a:pt x="166" y="101"/>
                  <a:pt x="166" y="101"/>
                </a:cubicBezTo>
                <a:cubicBezTo>
                  <a:pt x="155" y="78"/>
                  <a:pt x="155" y="78"/>
                  <a:pt x="155" y="78"/>
                </a:cubicBezTo>
                <a:lnTo>
                  <a:pt x="166" y="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9973" tIns="34986" rIns="69973" bIns="34986" numCol="1" anchor="ctr" anchorCtr="0" compatLnSpc="1">
            <a:prstTxWarp prst="textNoShape">
              <a:avLst/>
            </a:prstTxWarp>
            <a:noAutofit/>
          </a:bodyPr>
          <a:lstStyle/>
          <a:p>
            <a:endParaRPr lang="de-DE" sz="107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CC1BEA3-B3A0-49C4-A54D-E76215962E45}"/>
              </a:ext>
            </a:extLst>
          </p:cNvPr>
          <p:cNvGrpSpPr/>
          <p:nvPr/>
        </p:nvGrpSpPr>
        <p:grpSpPr bwMode="gray">
          <a:xfrm>
            <a:off x="7154585" y="1215807"/>
            <a:ext cx="246340" cy="260658"/>
            <a:chOff x="7212247" y="569755"/>
            <a:chExt cx="218238" cy="230924"/>
          </a:xfrm>
          <a:solidFill>
            <a:schemeClr val="bg1"/>
          </a:solidFill>
        </p:grpSpPr>
        <p:sp>
          <p:nvSpPr>
            <p:cNvPr id="72" name="Freeform 73">
              <a:extLst>
                <a:ext uri="{FF2B5EF4-FFF2-40B4-BE49-F238E27FC236}">
                  <a16:creationId xmlns:a16="http://schemas.microsoft.com/office/drawing/2014/main" id="{ECD64387-690F-42DB-8EF1-B154E032AD9B}"/>
                </a:ext>
              </a:extLst>
            </p:cNvPr>
            <p:cNvSpPr>
              <a:spLocks/>
            </p:cNvSpPr>
            <p:nvPr/>
          </p:nvSpPr>
          <p:spPr bwMode="gray">
            <a:xfrm>
              <a:off x="7212247" y="569755"/>
              <a:ext cx="201160" cy="230748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7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24">
              <a:extLst>
                <a:ext uri="{FF2B5EF4-FFF2-40B4-BE49-F238E27FC236}">
                  <a16:creationId xmlns:a16="http://schemas.microsoft.com/office/drawing/2014/main" id="{D4604786-805E-4B6C-ABAB-63C232B916A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69187" y="639130"/>
              <a:ext cx="161298" cy="161549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07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5" name="Freeform 71">
            <a:extLst>
              <a:ext uri="{FF2B5EF4-FFF2-40B4-BE49-F238E27FC236}">
                <a16:creationId xmlns:a16="http://schemas.microsoft.com/office/drawing/2014/main" id="{AE89B3E9-EF52-4358-AC8D-DFCA150DD977}"/>
              </a:ext>
            </a:extLst>
          </p:cNvPr>
          <p:cNvSpPr>
            <a:spLocks noChangeAspect="1"/>
          </p:cNvSpPr>
          <p:nvPr/>
        </p:nvSpPr>
        <p:spPr bwMode="gray">
          <a:xfrm>
            <a:off x="8521424" y="1215986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7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35332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A7D781-72DC-4EA8-8ADC-BF84965F31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8510432"/>
              </p:ext>
            </p:extLst>
          </p:nvPr>
        </p:nvGraphicFramePr>
        <p:xfrm>
          <a:off x="1656" y="16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A7D781-72DC-4EA8-8ADC-BF84965F3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56" y="16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82D06C-CD0E-4601-9876-91253993F2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151FB3-BC39-4555-8642-1C52260F90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eschreibung der aktuellen Projektaktivitäten– Stand der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OZG-Umsetzung</a:t>
            </a: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A04FD5C8-F552-4042-BB7C-C2675F9A6009}"/>
              </a:ext>
            </a:extLst>
          </p:cNvPr>
          <p:cNvGrpSpPr/>
          <p:nvPr/>
        </p:nvGrpSpPr>
        <p:grpSpPr>
          <a:xfrm>
            <a:off x="5633209" y="999548"/>
            <a:ext cx="3187195" cy="188088"/>
            <a:chOff x="5633209" y="999548"/>
            <a:chExt cx="3187195" cy="188088"/>
          </a:xfrm>
        </p:grpSpPr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9044127E-BD51-45F4-B127-8DA5FE2DF3AE}"/>
                </a:ext>
              </a:extLst>
            </p:cNvPr>
            <p:cNvGrpSpPr/>
            <p:nvPr/>
          </p:nvGrpSpPr>
          <p:grpSpPr>
            <a:xfrm>
              <a:off x="5633209" y="999548"/>
              <a:ext cx="1218672" cy="188088"/>
              <a:chOff x="5525259" y="999548"/>
              <a:chExt cx="1218672" cy="188088"/>
            </a:xfrm>
          </p:grpSpPr>
          <p:sp>
            <p:nvSpPr>
              <p:cNvPr id="87" name="Freeform 99">
                <a:extLst>
                  <a:ext uri="{FF2B5EF4-FFF2-40B4-BE49-F238E27FC236}">
                    <a16:creationId xmlns:a16="http://schemas.microsoft.com/office/drawing/2014/main" id="{B4140CAD-772B-4C6A-9D00-C67288EE5556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5525259" y="999548"/>
                <a:ext cx="198261" cy="188088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none" lIns="91439" tIns="45720" rIns="91439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1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Body1 45">
                <a:extLst>
                  <a:ext uri="{FF2B5EF4-FFF2-40B4-BE49-F238E27FC236}">
                    <a16:creationId xmlns:a16="http://schemas.microsoft.com/office/drawing/2014/main" id="{5B02C4A9-3BB8-4915-B6BD-F4655511262E}"/>
                  </a:ext>
                </a:extLst>
              </p:cNvPr>
              <p:cNvSpPr txBox="1"/>
              <p:nvPr>
                <p:custDataLst>
                  <p:tags r:id="rId9"/>
                </p:custDataLst>
              </p:nvPr>
            </p:nvSpPr>
            <p:spPr bwMode="gray">
              <a:xfrm>
                <a:off x="5785335" y="1001259"/>
                <a:ext cx="958596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671496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80000" lvl="1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2pPr>
                <a:lvl3pPr marL="360000" lvl="2" indent="-180000" defTabSz="671496" eaLnBrk="1" hangingPunct="1"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•"/>
                  <a:defRPr sz="1600" baseline="0">
                    <a:latin typeface="+mn-lt"/>
                  </a:defRPr>
                </a:lvl3pPr>
                <a:lvl4pPr marL="540000" lvl="3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4pPr>
                <a:lvl5pPr marL="720000" lvl="4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»"/>
                  <a:defRPr sz="1600" baseline="0">
                    <a:latin typeface="+mn-lt"/>
                  </a:defRPr>
                </a:lvl5pPr>
                <a:lvl6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6pPr>
                <a:lvl7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7pPr>
                <a:lvl8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8pPr>
                <a:lvl9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9pPr>
              </a:lstStyle>
              <a:p>
                <a:r>
                  <a:rPr lang="de-DE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Abgeschlossen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7332225-DAFC-45AB-845D-75C9631D642D}"/>
                </a:ext>
              </a:extLst>
            </p:cNvPr>
            <p:cNvGrpSpPr/>
            <p:nvPr/>
          </p:nvGrpSpPr>
          <p:grpSpPr>
            <a:xfrm>
              <a:off x="7976737" y="1001259"/>
              <a:ext cx="843667" cy="171767"/>
              <a:chOff x="7976737" y="1001259"/>
              <a:chExt cx="843667" cy="171767"/>
            </a:xfrm>
          </p:grpSpPr>
          <p:sp>
            <p:nvSpPr>
              <p:cNvPr id="93" name="Body1 45">
                <a:extLst>
                  <a:ext uri="{FF2B5EF4-FFF2-40B4-BE49-F238E27FC236}">
                    <a16:creationId xmlns:a16="http://schemas.microsoft.com/office/drawing/2014/main" id="{10999281-1C26-4773-96D3-82327608DBC5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 bwMode="gray">
              <a:xfrm>
                <a:off x="8209659" y="1001259"/>
                <a:ext cx="610745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671496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80000" lvl="1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2pPr>
                <a:lvl3pPr marL="360000" lvl="2" indent="-180000" defTabSz="671496" eaLnBrk="1" hangingPunct="1"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•"/>
                  <a:defRPr sz="1600" baseline="0">
                    <a:latin typeface="+mn-lt"/>
                  </a:defRPr>
                </a:lvl3pPr>
                <a:lvl4pPr marL="540000" lvl="3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4pPr>
                <a:lvl5pPr marL="720000" lvl="4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»"/>
                  <a:defRPr sz="1600" baseline="0">
                    <a:latin typeface="+mn-lt"/>
                  </a:defRPr>
                </a:lvl5pPr>
                <a:lvl6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6pPr>
                <a:lvl7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7pPr>
                <a:lvl8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8pPr>
                <a:lvl9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9pPr>
              </a:lstStyle>
              <a:p>
                <a:r>
                  <a:rPr lang="de-DE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Verzögert</a:t>
                </a:r>
              </a:p>
            </p:txBody>
          </p:sp>
          <p:sp>
            <p:nvSpPr>
              <p:cNvPr id="94" name="Freeform 103">
                <a:extLst>
                  <a:ext uri="{FF2B5EF4-FFF2-40B4-BE49-F238E27FC236}">
                    <a16:creationId xmlns:a16="http://schemas.microsoft.com/office/drawing/2014/main" id="{36CD1B24-C927-4054-8D01-61E39FC58986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7976737" y="1014157"/>
                <a:ext cx="171109" cy="158869"/>
              </a:xfrm>
              <a:custGeom>
                <a:avLst/>
                <a:gdLst>
                  <a:gd name="T0" fmla="*/ 1326 w 2880"/>
                  <a:gd name="T1" fmla="*/ 2079 h 2674"/>
                  <a:gd name="T2" fmla="*/ 1118 w 2880"/>
                  <a:gd name="T3" fmla="*/ 2354 h 2674"/>
                  <a:gd name="T4" fmla="*/ 929 w 2880"/>
                  <a:gd name="T5" fmla="*/ 2544 h 2674"/>
                  <a:gd name="T6" fmla="*/ 780 w 2880"/>
                  <a:gd name="T7" fmla="*/ 2642 h 2674"/>
                  <a:gd name="T8" fmla="*/ 702 w 2880"/>
                  <a:gd name="T9" fmla="*/ 2669 h 2674"/>
                  <a:gd name="T10" fmla="*/ 648 w 2880"/>
                  <a:gd name="T11" fmla="*/ 2674 h 2674"/>
                  <a:gd name="T12" fmla="*/ 484 w 2880"/>
                  <a:gd name="T13" fmla="*/ 2641 h 2674"/>
                  <a:gd name="T14" fmla="*/ 320 w 2880"/>
                  <a:gd name="T15" fmla="*/ 2540 h 2674"/>
                  <a:gd name="T16" fmla="*/ 160 w 2880"/>
                  <a:gd name="T17" fmla="*/ 2371 h 2674"/>
                  <a:gd name="T18" fmla="*/ 0 w 2880"/>
                  <a:gd name="T19" fmla="*/ 2136 h 2674"/>
                  <a:gd name="T20" fmla="*/ 86 w 2880"/>
                  <a:gd name="T21" fmla="*/ 2139 h 2674"/>
                  <a:gd name="T22" fmla="*/ 206 w 2880"/>
                  <a:gd name="T23" fmla="*/ 2120 h 2674"/>
                  <a:gd name="T24" fmla="*/ 408 w 2880"/>
                  <a:gd name="T25" fmla="*/ 2030 h 2674"/>
                  <a:gd name="T26" fmla="*/ 620 w 2880"/>
                  <a:gd name="T27" fmla="*/ 1868 h 2674"/>
                  <a:gd name="T28" fmla="*/ 843 w 2880"/>
                  <a:gd name="T29" fmla="*/ 1638 h 2674"/>
                  <a:gd name="T30" fmla="*/ 877 w 2880"/>
                  <a:gd name="T31" fmla="*/ 1362 h 2674"/>
                  <a:gd name="T32" fmla="*/ 694 w 2880"/>
                  <a:gd name="T33" fmla="*/ 1147 h 2674"/>
                  <a:gd name="T34" fmla="*/ 563 w 2880"/>
                  <a:gd name="T35" fmla="*/ 948 h 2674"/>
                  <a:gd name="T36" fmla="*/ 484 w 2880"/>
                  <a:gd name="T37" fmla="*/ 767 h 2674"/>
                  <a:gd name="T38" fmla="*/ 458 w 2880"/>
                  <a:gd name="T39" fmla="*/ 602 h 2674"/>
                  <a:gd name="T40" fmla="*/ 474 w 2880"/>
                  <a:gd name="T41" fmla="*/ 503 h 2674"/>
                  <a:gd name="T42" fmla="*/ 546 w 2880"/>
                  <a:gd name="T43" fmla="*/ 361 h 2674"/>
                  <a:gd name="T44" fmla="*/ 674 w 2880"/>
                  <a:gd name="T45" fmla="*/ 208 h 2674"/>
                  <a:gd name="T46" fmla="*/ 861 w 2880"/>
                  <a:gd name="T47" fmla="*/ 42 h 2674"/>
                  <a:gd name="T48" fmla="*/ 938 w 2880"/>
                  <a:gd name="T49" fmla="*/ 111 h 2674"/>
                  <a:gd name="T50" fmla="*/ 1003 w 2880"/>
                  <a:gd name="T51" fmla="*/ 331 h 2674"/>
                  <a:gd name="T52" fmla="*/ 1102 w 2880"/>
                  <a:gd name="T53" fmla="*/ 547 h 2674"/>
                  <a:gd name="T54" fmla="*/ 1232 w 2880"/>
                  <a:gd name="T55" fmla="*/ 760 h 2674"/>
                  <a:gd name="T56" fmla="*/ 1465 w 2880"/>
                  <a:gd name="T57" fmla="*/ 887 h 2674"/>
                  <a:gd name="T58" fmla="*/ 1641 w 2880"/>
                  <a:gd name="T59" fmla="*/ 679 h 2674"/>
                  <a:gd name="T60" fmla="*/ 1866 w 2880"/>
                  <a:gd name="T61" fmla="*/ 468 h 2674"/>
                  <a:gd name="T62" fmla="*/ 2081 w 2880"/>
                  <a:gd name="T63" fmla="*/ 334 h 2674"/>
                  <a:gd name="T64" fmla="*/ 2209 w 2880"/>
                  <a:gd name="T65" fmla="*/ 289 h 2674"/>
                  <a:gd name="T66" fmla="*/ 2308 w 2880"/>
                  <a:gd name="T67" fmla="*/ 274 h 2674"/>
                  <a:gd name="T68" fmla="*/ 2406 w 2880"/>
                  <a:gd name="T69" fmla="*/ 281 h 2674"/>
                  <a:gd name="T70" fmla="*/ 2540 w 2880"/>
                  <a:gd name="T71" fmla="*/ 340 h 2674"/>
                  <a:gd name="T72" fmla="*/ 2655 w 2880"/>
                  <a:gd name="T73" fmla="*/ 456 h 2674"/>
                  <a:gd name="T74" fmla="*/ 2751 w 2880"/>
                  <a:gd name="T75" fmla="*/ 630 h 2674"/>
                  <a:gd name="T76" fmla="*/ 2755 w 2880"/>
                  <a:gd name="T77" fmla="*/ 734 h 2674"/>
                  <a:gd name="T78" fmla="*/ 2692 w 2880"/>
                  <a:gd name="T79" fmla="*/ 735 h 2674"/>
                  <a:gd name="T80" fmla="*/ 2609 w 2880"/>
                  <a:gd name="T81" fmla="*/ 758 h 2674"/>
                  <a:gd name="T82" fmla="*/ 2401 w 2880"/>
                  <a:gd name="T83" fmla="*/ 873 h 2674"/>
                  <a:gd name="T84" fmla="*/ 2222 w 2880"/>
                  <a:gd name="T85" fmla="*/ 1012 h 2674"/>
                  <a:gd name="T86" fmla="*/ 2010 w 2880"/>
                  <a:gd name="T87" fmla="*/ 1221 h 2674"/>
                  <a:gd name="T88" fmla="*/ 1917 w 2880"/>
                  <a:gd name="T89" fmla="*/ 1531 h 2674"/>
                  <a:gd name="T90" fmla="*/ 2091 w 2880"/>
                  <a:gd name="T91" fmla="*/ 1682 h 2674"/>
                  <a:gd name="T92" fmla="*/ 2329 w 2880"/>
                  <a:gd name="T93" fmla="*/ 1837 h 2674"/>
                  <a:gd name="T94" fmla="*/ 2570 w 2880"/>
                  <a:gd name="T95" fmla="*/ 1933 h 2674"/>
                  <a:gd name="T96" fmla="*/ 2817 w 2880"/>
                  <a:gd name="T97" fmla="*/ 1976 h 2674"/>
                  <a:gd name="T98" fmla="*/ 2813 w 2880"/>
                  <a:gd name="T99" fmla="*/ 2104 h 2674"/>
                  <a:gd name="T100" fmla="*/ 2674 w 2880"/>
                  <a:gd name="T101" fmla="*/ 2308 h 2674"/>
                  <a:gd name="T102" fmla="*/ 2535 w 2880"/>
                  <a:gd name="T103" fmla="*/ 2444 h 2674"/>
                  <a:gd name="T104" fmla="*/ 2391 w 2880"/>
                  <a:gd name="T105" fmla="*/ 2510 h 2674"/>
                  <a:gd name="T106" fmla="*/ 2318 w 2880"/>
                  <a:gd name="T107" fmla="*/ 2519 h 2674"/>
                  <a:gd name="T108" fmla="*/ 2172 w 2880"/>
                  <a:gd name="T109" fmla="*/ 2491 h 2674"/>
                  <a:gd name="T110" fmla="*/ 1996 w 2880"/>
                  <a:gd name="T111" fmla="*/ 2403 h 2674"/>
                  <a:gd name="T112" fmla="*/ 1790 w 2880"/>
                  <a:gd name="T113" fmla="*/ 2259 h 2674"/>
                  <a:gd name="T114" fmla="*/ 1556 w 2880"/>
                  <a:gd name="T115" fmla="*/ 2057 h 2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80" h="2674">
                    <a:moveTo>
                      <a:pt x="1424" y="1937"/>
                    </a:moveTo>
                    <a:lnTo>
                      <a:pt x="1382" y="1997"/>
                    </a:lnTo>
                    <a:lnTo>
                      <a:pt x="1382" y="1997"/>
                    </a:lnTo>
                    <a:lnTo>
                      <a:pt x="1326" y="2079"/>
                    </a:lnTo>
                    <a:lnTo>
                      <a:pt x="1273" y="2157"/>
                    </a:lnTo>
                    <a:lnTo>
                      <a:pt x="1220" y="2227"/>
                    </a:lnTo>
                    <a:lnTo>
                      <a:pt x="1167" y="2294"/>
                    </a:lnTo>
                    <a:lnTo>
                      <a:pt x="1118" y="2354"/>
                    </a:lnTo>
                    <a:lnTo>
                      <a:pt x="1069" y="2410"/>
                    </a:lnTo>
                    <a:lnTo>
                      <a:pt x="1021" y="2459"/>
                    </a:lnTo>
                    <a:lnTo>
                      <a:pt x="973" y="2505"/>
                    </a:lnTo>
                    <a:lnTo>
                      <a:pt x="929" y="2544"/>
                    </a:lnTo>
                    <a:lnTo>
                      <a:pt x="885" y="2579"/>
                    </a:lnTo>
                    <a:lnTo>
                      <a:pt x="843" y="2607"/>
                    </a:lnTo>
                    <a:lnTo>
                      <a:pt x="801" y="2632"/>
                    </a:lnTo>
                    <a:lnTo>
                      <a:pt x="780" y="2642"/>
                    </a:lnTo>
                    <a:lnTo>
                      <a:pt x="760" y="2649"/>
                    </a:lnTo>
                    <a:lnTo>
                      <a:pt x="741" y="2658"/>
                    </a:lnTo>
                    <a:lnTo>
                      <a:pt x="722" y="2663"/>
                    </a:lnTo>
                    <a:lnTo>
                      <a:pt x="702" y="2669"/>
                    </a:lnTo>
                    <a:lnTo>
                      <a:pt x="685" y="2670"/>
                    </a:lnTo>
                    <a:lnTo>
                      <a:pt x="665" y="2674"/>
                    </a:lnTo>
                    <a:lnTo>
                      <a:pt x="648" y="2674"/>
                    </a:lnTo>
                    <a:lnTo>
                      <a:pt x="648" y="2674"/>
                    </a:lnTo>
                    <a:lnTo>
                      <a:pt x="606" y="2672"/>
                    </a:lnTo>
                    <a:lnTo>
                      <a:pt x="565" y="2665"/>
                    </a:lnTo>
                    <a:lnTo>
                      <a:pt x="525" y="2655"/>
                    </a:lnTo>
                    <a:lnTo>
                      <a:pt x="484" y="2641"/>
                    </a:lnTo>
                    <a:lnTo>
                      <a:pt x="444" y="2621"/>
                    </a:lnTo>
                    <a:lnTo>
                      <a:pt x="401" y="2598"/>
                    </a:lnTo>
                    <a:lnTo>
                      <a:pt x="361" y="2572"/>
                    </a:lnTo>
                    <a:lnTo>
                      <a:pt x="320" y="2540"/>
                    </a:lnTo>
                    <a:lnTo>
                      <a:pt x="280" y="2503"/>
                    </a:lnTo>
                    <a:lnTo>
                      <a:pt x="239" y="2465"/>
                    </a:lnTo>
                    <a:lnTo>
                      <a:pt x="201" y="2421"/>
                    </a:lnTo>
                    <a:lnTo>
                      <a:pt x="160" y="2371"/>
                    </a:lnTo>
                    <a:lnTo>
                      <a:pt x="120" y="2319"/>
                    </a:lnTo>
                    <a:lnTo>
                      <a:pt x="79" y="2262"/>
                    </a:lnTo>
                    <a:lnTo>
                      <a:pt x="40" y="2201"/>
                    </a:lnTo>
                    <a:lnTo>
                      <a:pt x="0" y="2136"/>
                    </a:lnTo>
                    <a:lnTo>
                      <a:pt x="0" y="2136"/>
                    </a:lnTo>
                    <a:lnTo>
                      <a:pt x="63" y="2139"/>
                    </a:lnTo>
                    <a:lnTo>
                      <a:pt x="63" y="2139"/>
                    </a:lnTo>
                    <a:lnTo>
                      <a:pt x="86" y="2139"/>
                    </a:lnTo>
                    <a:lnTo>
                      <a:pt x="111" y="2137"/>
                    </a:lnTo>
                    <a:lnTo>
                      <a:pt x="134" y="2134"/>
                    </a:lnTo>
                    <a:lnTo>
                      <a:pt x="158" y="2130"/>
                    </a:lnTo>
                    <a:lnTo>
                      <a:pt x="206" y="2120"/>
                    </a:lnTo>
                    <a:lnTo>
                      <a:pt x="255" y="2104"/>
                    </a:lnTo>
                    <a:lnTo>
                      <a:pt x="306" y="2083"/>
                    </a:lnTo>
                    <a:lnTo>
                      <a:pt x="357" y="2058"/>
                    </a:lnTo>
                    <a:lnTo>
                      <a:pt x="408" y="2030"/>
                    </a:lnTo>
                    <a:lnTo>
                      <a:pt x="459" y="1997"/>
                    </a:lnTo>
                    <a:lnTo>
                      <a:pt x="512" y="1958"/>
                    </a:lnTo>
                    <a:lnTo>
                      <a:pt x="565" y="1916"/>
                    </a:lnTo>
                    <a:lnTo>
                      <a:pt x="620" y="1868"/>
                    </a:lnTo>
                    <a:lnTo>
                      <a:pt x="674" y="1817"/>
                    </a:lnTo>
                    <a:lnTo>
                      <a:pt x="731" y="1763"/>
                    </a:lnTo>
                    <a:lnTo>
                      <a:pt x="785" y="1701"/>
                    </a:lnTo>
                    <a:lnTo>
                      <a:pt x="843" y="1638"/>
                    </a:lnTo>
                    <a:lnTo>
                      <a:pt x="900" y="1567"/>
                    </a:lnTo>
                    <a:lnTo>
                      <a:pt x="977" y="1471"/>
                    </a:lnTo>
                    <a:lnTo>
                      <a:pt x="877" y="1362"/>
                    </a:lnTo>
                    <a:lnTo>
                      <a:pt x="877" y="1362"/>
                    </a:lnTo>
                    <a:lnTo>
                      <a:pt x="827" y="1307"/>
                    </a:lnTo>
                    <a:lnTo>
                      <a:pt x="778" y="1253"/>
                    </a:lnTo>
                    <a:lnTo>
                      <a:pt x="734" y="1198"/>
                    </a:lnTo>
                    <a:lnTo>
                      <a:pt x="694" y="1147"/>
                    </a:lnTo>
                    <a:lnTo>
                      <a:pt x="657" y="1096"/>
                    </a:lnTo>
                    <a:lnTo>
                      <a:pt x="621" y="1045"/>
                    </a:lnTo>
                    <a:lnTo>
                      <a:pt x="590" y="996"/>
                    </a:lnTo>
                    <a:lnTo>
                      <a:pt x="563" y="948"/>
                    </a:lnTo>
                    <a:lnTo>
                      <a:pt x="539" y="901"/>
                    </a:lnTo>
                    <a:lnTo>
                      <a:pt x="518" y="855"/>
                    </a:lnTo>
                    <a:lnTo>
                      <a:pt x="498" y="811"/>
                    </a:lnTo>
                    <a:lnTo>
                      <a:pt x="484" y="767"/>
                    </a:lnTo>
                    <a:lnTo>
                      <a:pt x="472" y="723"/>
                    </a:lnTo>
                    <a:lnTo>
                      <a:pt x="465" y="683"/>
                    </a:lnTo>
                    <a:lnTo>
                      <a:pt x="459" y="642"/>
                    </a:lnTo>
                    <a:lnTo>
                      <a:pt x="458" y="602"/>
                    </a:lnTo>
                    <a:lnTo>
                      <a:pt x="458" y="602"/>
                    </a:lnTo>
                    <a:lnTo>
                      <a:pt x="459" y="570"/>
                    </a:lnTo>
                    <a:lnTo>
                      <a:pt x="465" y="537"/>
                    </a:lnTo>
                    <a:lnTo>
                      <a:pt x="474" y="503"/>
                    </a:lnTo>
                    <a:lnTo>
                      <a:pt x="486" y="468"/>
                    </a:lnTo>
                    <a:lnTo>
                      <a:pt x="502" y="433"/>
                    </a:lnTo>
                    <a:lnTo>
                      <a:pt x="523" y="398"/>
                    </a:lnTo>
                    <a:lnTo>
                      <a:pt x="546" y="361"/>
                    </a:lnTo>
                    <a:lnTo>
                      <a:pt x="572" y="324"/>
                    </a:lnTo>
                    <a:lnTo>
                      <a:pt x="604" y="287"/>
                    </a:lnTo>
                    <a:lnTo>
                      <a:pt x="637" y="248"/>
                    </a:lnTo>
                    <a:lnTo>
                      <a:pt x="674" y="208"/>
                    </a:lnTo>
                    <a:lnTo>
                      <a:pt x="716" y="167"/>
                    </a:lnTo>
                    <a:lnTo>
                      <a:pt x="760" y="127"/>
                    </a:lnTo>
                    <a:lnTo>
                      <a:pt x="810" y="84"/>
                    </a:lnTo>
                    <a:lnTo>
                      <a:pt x="861" y="42"/>
                    </a:lnTo>
                    <a:lnTo>
                      <a:pt x="917" y="0"/>
                    </a:lnTo>
                    <a:lnTo>
                      <a:pt x="917" y="0"/>
                    </a:lnTo>
                    <a:lnTo>
                      <a:pt x="926" y="56"/>
                    </a:lnTo>
                    <a:lnTo>
                      <a:pt x="938" y="111"/>
                    </a:lnTo>
                    <a:lnTo>
                      <a:pt x="951" y="165"/>
                    </a:lnTo>
                    <a:lnTo>
                      <a:pt x="966" y="222"/>
                    </a:lnTo>
                    <a:lnTo>
                      <a:pt x="984" y="276"/>
                    </a:lnTo>
                    <a:lnTo>
                      <a:pt x="1003" y="331"/>
                    </a:lnTo>
                    <a:lnTo>
                      <a:pt x="1025" y="385"/>
                    </a:lnTo>
                    <a:lnTo>
                      <a:pt x="1047" y="438"/>
                    </a:lnTo>
                    <a:lnTo>
                      <a:pt x="1074" y="493"/>
                    </a:lnTo>
                    <a:lnTo>
                      <a:pt x="1102" y="547"/>
                    </a:lnTo>
                    <a:lnTo>
                      <a:pt x="1130" y="600"/>
                    </a:lnTo>
                    <a:lnTo>
                      <a:pt x="1162" y="654"/>
                    </a:lnTo>
                    <a:lnTo>
                      <a:pt x="1197" y="707"/>
                    </a:lnTo>
                    <a:lnTo>
                      <a:pt x="1232" y="760"/>
                    </a:lnTo>
                    <a:lnTo>
                      <a:pt x="1269" y="813"/>
                    </a:lnTo>
                    <a:lnTo>
                      <a:pt x="1310" y="866"/>
                    </a:lnTo>
                    <a:lnTo>
                      <a:pt x="1396" y="975"/>
                    </a:lnTo>
                    <a:lnTo>
                      <a:pt x="1465" y="887"/>
                    </a:lnTo>
                    <a:lnTo>
                      <a:pt x="1465" y="887"/>
                    </a:lnTo>
                    <a:lnTo>
                      <a:pt x="1524" y="813"/>
                    </a:lnTo>
                    <a:lnTo>
                      <a:pt x="1583" y="742"/>
                    </a:lnTo>
                    <a:lnTo>
                      <a:pt x="1641" y="679"/>
                    </a:lnTo>
                    <a:lnTo>
                      <a:pt x="1699" y="619"/>
                    </a:lnTo>
                    <a:lnTo>
                      <a:pt x="1755" y="563"/>
                    </a:lnTo>
                    <a:lnTo>
                      <a:pt x="1811" y="514"/>
                    </a:lnTo>
                    <a:lnTo>
                      <a:pt x="1866" y="468"/>
                    </a:lnTo>
                    <a:lnTo>
                      <a:pt x="1921" y="427"/>
                    </a:lnTo>
                    <a:lnTo>
                      <a:pt x="1975" y="392"/>
                    </a:lnTo>
                    <a:lnTo>
                      <a:pt x="2028" y="361"/>
                    </a:lnTo>
                    <a:lnTo>
                      <a:pt x="2081" y="334"/>
                    </a:lnTo>
                    <a:lnTo>
                      <a:pt x="2132" y="313"/>
                    </a:lnTo>
                    <a:lnTo>
                      <a:pt x="2158" y="304"/>
                    </a:lnTo>
                    <a:lnTo>
                      <a:pt x="2183" y="296"/>
                    </a:lnTo>
                    <a:lnTo>
                      <a:pt x="2209" y="289"/>
                    </a:lnTo>
                    <a:lnTo>
                      <a:pt x="2234" y="283"/>
                    </a:lnTo>
                    <a:lnTo>
                      <a:pt x="2259" y="280"/>
                    </a:lnTo>
                    <a:lnTo>
                      <a:pt x="2283" y="276"/>
                    </a:lnTo>
                    <a:lnTo>
                      <a:pt x="2308" y="274"/>
                    </a:lnTo>
                    <a:lnTo>
                      <a:pt x="2333" y="274"/>
                    </a:lnTo>
                    <a:lnTo>
                      <a:pt x="2333" y="274"/>
                    </a:lnTo>
                    <a:lnTo>
                      <a:pt x="2369" y="276"/>
                    </a:lnTo>
                    <a:lnTo>
                      <a:pt x="2406" y="281"/>
                    </a:lnTo>
                    <a:lnTo>
                      <a:pt x="2442" y="290"/>
                    </a:lnTo>
                    <a:lnTo>
                      <a:pt x="2475" y="303"/>
                    </a:lnTo>
                    <a:lnTo>
                      <a:pt x="2509" y="320"/>
                    </a:lnTo>
                    <a:lnTo>
                      <a:pt x="2540" y="340"/>
                    </a:lnTo>
                    <a:lnTo>
                      <a:pt x="2570" y="362"/>
                    </a:lnTo>
                    <a:lnTo>
                      <a:pt x="2600" y="391"/>
                    </a:lnTo>
                    <a:lnTo>
                      <a:pt x="2628" y="420"/>
                    </a:lnTo>
                    <a:lnTo>
                      <a:pt x="2655" y="456"/>
                    </a:lnTo>
                    <a:lnTo>
                      <a:pt x="2681" y="493"/>
                    </a:lnTo>
                    <a:lnTo>
                      <a:pt x="2706" y="535"/>
                    </a:lnTo>
                    <a:lnTo>
                      <a:pt x="2730" y="581"/>
                    </a:lnTo>
                    <a:lnTo>
                      <a:pt x="2751" y="630"/>
                    </a:lnTo>
                    <a:lnTo>
                      <a:pt x="2774" y="681"/>
                    </a:lnTo>
                    <a:lnTo>
                      <a:pt x="2794" y="737"/>
                    </a:lnTo>
                    <a:lnTo>
                      <a:pt x="2794" y="737"/>
                    </a:lnTo>
                    <a:lnTo>
                      <a:pt x="2755" y="734"/>
                    </a:lnTo>
                    <a:lnTo>
                      <a:pt x="2729" y="732"/>
                    </a:lnTo>
                    <a:lnTo>
                      <a:pt x="2729" y="732"/>
                    </a:lnTo>
                    <a:lnTo>
                      <a:pt x="2711" y="732"/>
                    </a:lnTo>
                    <a:lnTo>
                      <a:pt x="2692" y="735"/>
                    </a:lnTo>
                    <a:lnTo>
                      <a:pt x="2672" y="739"/>
                    </a:lnTo>
                    <a:lnTo>
                      <a:pt x="2653" y="744"/>
                    </a:lnTo>
                    <a:lnTo>
                      <a:pt x="2632" y="749"/>
                    </a:lnTo>
                    <a:lnTo>
                      <a:pt x="2609" y="758"/>
                    </a:lnTo>
                    <a:lnTo>
                      <a:pt x="2563" y="778"/>
                    </a:lnTo>
                    <a:lnTo>
                      <a:pt x="2512" y="804"/>
                    </a:lnTo>
                    <a:lnTo>
                      <a:pt x="2459" y="836"/>
                    </a:lnTo>
                    <a:lnTo>
                      <a:pt x="2401" y="873"/>
                    </a:lnTo>
                    <a:lnTo>
                      <a:pt x="2341" y="917"/>
                    </a:lnTo>
                    <a:lnTo>
                      <a:pt x="2341" y="917"/>
                    </a:lnTo>
                    <a:lnTo>
                      <a:pt x="2280" y="964"/>
                    </a:lnTo>
                    <a:lnTo>
                      <a:pt x="2222" y="1012"/>
                    </a:lnTo>
                    <a:lnTo>
                      <a:pt x="2165" y="1063"/>
                    </a:lnTo>
                    <a:lnTo>
                      <a:pt x="2111" y="1114"/>
                    </a:lnTo>
                    <a:lnTo>
                      <a:pt x="2060" y="1166"/>
                    </a:lnTo>
                    <a:lnTo>
                      <a:pt x="2010" y="1221"/>
                    </a:lnTo>
                    <a:lnTo>
                      <a:pt x="1965" y="1275"/>
                    </a:lnTo>
                    <a:lnTo>
                      <a:pt x="1921" y="1333"/>
                    </a:lnTo>
                    <a:lnTo>
                      <a:pt x="1834" y="1450"/>
                    </a:lnTo>
                    <a:lnTo>
                      <a:pt x="1917" y="1531"/>
                    </a:lnTo>
                    <a:lnTo>
                      <a:pt x="1917" y="1531"/>
                    </a:lnTo>
                    <a:lnTo>
                      <a:pt x="1975" y="1585"/>
                    </a:lnTo>
                    <a:lnTo>
                      <a:pt x="2033" y="1636"/>
                    </a:lnTo>
                    <a:lnTo>
                      <a:pt x="2091" y="1682"/>
                    </a:lnTo>
                    <a:lnTo>
                      <a:pt x="2149" y="1726"/>
                    </a:lnTo>
                    <a:lnTo>
                      <a:pt x="2209" y="1766"/>
                    </a:lnTo>
                    <a:lnTo>
                      <a:pt x="2269" y="1803"/>
                    </a:lnTo>
                    <a:lnTo>
                      <a:pt x="2329" y="1837"/>
                    </a:lnTo>
                    <a:lnTo>
                      <a:pt x="2389" y="1867"/>
                    </a:lnTo>
                    <a:lnTo>
                      <a:pt x="2449" y="1891"/>
                    </a:lnTo>
                    <a:lnTo>
                      <a:pt x="2510" y="1914"/>
                    </a:lnTo>
                    <a:lnTo>
                      <a:pt x="2570" y="1933"/>
                    </a:lnTo>
                    <a:lnTo>
                      <a:pt x="2632" y="1949"/>
                    </a:lnTo>
                    <a:lnTo>
                      <a:pt x="2693" y="1962"/>
                    </a:lnTo>
                    <a:lnTo>
                      <a:pt x="2755" y="1970"/>
                    </a:lnTo>
                    <a:lnTo>
                      <a:pt x="2817" y="1976"/>
                    </a:lnTo>
                    <a:lnTo>
                      <a:pt x="2880" y="1977"/>
                    </a:lnTo>
                    <a:lnTo>
                      <a:pt x="2880" y="1977"/>
                    </a:lnTo>
                    <a:lnTo>
                      <a:pt x="2847" y="2042"/>
                    </a:lnTo>
                    <a:lnTo>
                      <a:pt x="2813" y="2104"/>
                    </a:lnTo>
                    <a:lnTo>
                      <a:pt x="2778" y="2162"/>
                    </a:lnTo>
                    <a:lnTo>
                      <a:pt x="2744" y="2215"/>
                    </a:lnTo>
                    <a:lnTo>
                      <a:pt x="2709" y="2262"/>
                    </a:lnTo>
                    <a:lnTo>
                      <a:pt x="2674" y="2308"/>
                    </a:lnTo>
                    <a:lnTo>
                      <a:pt x="2641" y="2349"/>
                    </a:lnTo>
                    <a:lnTo>
                      <a:pt x="2605" y="2384"/>
                    </a:lnTo>
                    <a:lnTo>
                      <a:pt x="2570" y="2415"/>
                    </a:lnTo>
                    <a:lnTo>
                      <a:pt x="2535" y="2444"/>
                    </a:lnTo>
                    <a:lnTo>
                      <a:pt x="2498" y="2466"/>
                    </a:lnTo>
                    <a:lnTo>
                      <a:pt x="2463" y="2486"/>
                    </a:lnTo>
                    <a:lnTo>
                      <a:pt x="2428" y="2500"/>
                    </a:lnTo>
                    <a:lnTo>
                      <a:pt x="2391" y="2510"/>
                    </a:lnTo>
                    <a:lnTo>
                      <a:pt x="2355" y="2517"/>
                    </a:lnTo>
                    <a:lnTo>
                      <a:pt x="2336" y="2519"/>
                    </a:lnTo>
                    <a:lnTo>
                      <a:pt x="2318" y="2519"/>
                    </a:lnTo>
                    <a:lnTo>
                      <a:pt x="2318" y="2519"/>
                    </a:lnTo>
                    <a:lnTo>
                      <a:pt x="2285" y="2517"/>
                    </a:lnTo>
                    <a:lnTo>
                      <a:pt x="2248" y="2512"/>
                    </a:lnTo>
                    <a:lnTo>
                      <a:pt x="2211" y="2503"/>
                    </a:lnTo>
                    <a:lnTo>
                      <a:pt x="2172" y="2491"/>
                    </a:lnTo>
                    <a:lnTo>
                      <a:pt x="2130" y="2473"/>
                    </a:lnTo>
                    <a:lnTo>
                      <a:pt x="2088" y="2454"/>
                    </a:lnTo>
                    <a:lnTo>
                      <a:pt x="2042" y="2431"/>
                    </a:lnTo>
                    <a:lnTo>
                      <a:pt x="1996" y="2403"/>
                    </a:lnTo>
                    <a:lnTo>
                      <a:pt x="1947" y="2373"/>
                    </a:lnTo>
                    <a:lnTo>
                      <a:pt x="1898" y="2338"/>
                    </a:lnTo>
                    <a:lnTo>
                      <a:pt x="1845" y="2301"/>
                    </a:lnTo>
                    <a:lnTo>
                      <a:pt x="1790" y="2259"/>
                    </a:lnTo>
                    <a:lnTo>
                      <a:pt x="1734" y="2215"/>
                    </a:lnTo>
                    <a:lnTo>
                      <a:pt x="1678" y="2166"/>
                    </a:lnTo>
                    <a:lnTo>
                      <a:pt x="1618" y="2113"/>
                    </a:lnTo>
                    <a:lnTo>
                      <a:pt x="1556" y="2057"/>
                    </a:lnTo>
                    <a:lnTo>
                      <a:pt x="1424" y="1937"/>
                    </a:lnTo>
                    <a:close/>
                  </a:path>
                </a:pathLst>
              </a:custGeom>
              <a:solidFill>
                <a:srgbClr val="D24150"/>
              </a:solidFill>
              <a:ln>
                <a:noFill/>
              </a:ln>
            </p:spPr>
            <p:txBody>
              <a:bodyPr vert="horz" wrap="none" lIns="91439" tIns="45720" rIns="91439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51EFC15C-6C65-44D1-AB64-F25334C1F76E}"/>
                </a:ext>
              </a:extLst>
            </p:cNvPr>
            <p:cNvGrpSpPr/>
            <p:nvPr/>
          </p:nvGrpSpPr>
          <p:grpSpPr>
            <a:xfrm>
              <a:off x="7000714" y="1001259"/>
              <a:ext cx="757106" cy="180509"/>
              <a:chOff x="6946739" y="1001259"/>
              <a:chExt cx="757106" cy="180509"/>
            </a:xfrm>
          </p:grpSpPr>
          <p:sp>
            <p:nvSpPr>
              <p:cNvPr id="92" name="Body1 45">
                <a:extLst>
                  <a:ext uri="{FF2B5EF4-FFF2-40B4-BE49-F238E27FC236}">
                    <a16:creationId xmlns:a16="http://schemas.microsoft.com/office/drawing/2014/main" id="{97436C60-ABC1-4E2D-A972-1BFBD4FA319E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 bwMode="gray">
              <a:xfrm>
                <a:off x="7179663" y="1001259"/>
                <a:ext cx="524182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671496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80000" lvl="1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2pPr>
                <a:lvl3pPr marL="360000" lvl="2" indent="-180000" defTabSz="671496" eaLnBrk="1" hangingPunct="1"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•"/>
                  <a:defRPr sz="1600" baseline="0">
                    <a:latin typeface="+mn-lt"/>
                  </a:defRPr>
                </a:lvl3pPr>
                <a:lvl4pPr marL="540000" lvl="3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4pPr>
                <a:lvl5pPr marL="720000" lvl="4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»"/>
                  <a:defRPr sz="1600" baseline="0">
                    <a:latin typeface="+mn-lt"/>
                  </a:defRPr>
                </a:lvl5pPr>
                <a:lvl6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6pPr>
                <a:lvl7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7pPr>
                <a:lvl8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8pPr>
                <a:lvl9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9pPr>
              </a:lstStyle>
              <a:p>
                <a:r>
                  <a:rPr lang="de-DE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In Arbeit</a:t>
                </a:r>
              </a:p>
            </p:txBody>
          </p:sp>
          <p:sp>
            <p:nvSpPr>
              <p:cNvPr id="119" name="Freeform 156">
                <a:extLst>
                  <a:ext uri="{FF2B5EF4-FFF2-40B4-BE49-F238E27FC236}">
                    <a16:creationId xmlns:a16="http://schemas.microsoft.com/office/drawing/2014/main" id="{36D6429F-EA7B-4A52-A138-3DCFDFF4C70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46739" y="1005417"/>
                <a:ext cx="171109" cy="176351"/>
              </a:xfrm>
              <a:custGeom>
                <a:avLst/>
                <a:gdLst>
                  <a:gd name="T0" fmla="*/ 289 w 355"/>
                  <a:gd name="T1" fmla="*/ 170 h 366"/>
                  <a:gd name="T2" fmla="*/ 350 w 355"/>
                  <a:gd name="T3" fmla="*/ 152 h 366"/>
                  <a:gd name="T4" fmla="*/ 24 w 355"/>
                  <a:gd name="T5" fmla="*/ 258 h 366"/>
                  <a:gd name="T6" fmla="*/ 97 w 355"/>
                  <a:gd name="T7" fmla="*/ 259 h 366"/>
                  <a:gd name="T8" fmla="*/ 24 w 355"/>
                  <a:gd name="T9" fmla="*/ 258 h 366"/>
                  <a:gd name="T10" fmla="*/ 100 w 355"/>
                  <a:gd name="T11" fmla="*/ 263 h 366"/>
                  <a:gd name="T12" fmla="*/ 80 w 355"/>
                  <a:gd name="T13" fmla="*/ 331 h 366"/>
                  <a:gd name="T14" fmla="*/ 89 w 355"/>
                  <a:gd name="T15" fmla="*/ 338 h 366"/>
                  <a:gd name="T16" fmla="*/ 145 w 355"/>
                  <a:gd name="T17" fmla="*/ 295 h 366"/>
                  <a:gd name="T18" fmla="*/ 89 w 355"/>
                  <a:gd name="T19" fmla="*/ 338 h 366"/>
                  <a:gd name="T20" fmla="*/ 137 w 355"/>
                  <a:gd name="T21" fmla="*/ 359 h 366"/>
                  <a:gd name="T22" fmla="*/ 174 w 355"/>
                  <a:gd name="T23" fmla="*/ 302 h 366"/>
                  <a:gd name="T24" fmla="*/ 101 w 355"/>
                  <a:gd name="T25" fmla="*/ 124 h 366"/>
                  <a:gd name="T26" fmla="*/ 23 w 355"/>
                  <a:gd name="T27" fmla="*/ 256 h 366"/>
                  <a:gd name="T28" fmla="*/ 210 w 355"/>
                  <a:gd name="T29" fmla="*/ 24 h 366"/>
                  <a:gd name="T30" fmla="*/ 289 w 355"/>
                  <a:gd name="T31" fmla="*/ 70 h 366"/>
                  <a:gd name="T32" fmla="*/ 200 w 355"/>
                  <a:gd name="T33" fmla="*/ 87 h 366"/>
                  <a:gd name="T34" fmla="*/ 188 w 355"/>
                  <a:gd name="T35" fmla="*/ 366 h 366"/>
                  <a:gd name="T36" fmla="*/ 204 w 355"/>
                  <a:gd name="T37" fmla="*/ 300 h 366"/>
                  <a:gd name="T38" fmla="*/ 188 w 355"/>
                  <a:gd name="T39" fmla="*/ 366 h 366"/>
                  <a:gd name="T40" fmla="*/ 219 w 355"/>
                  <a:gd name="T41" fmla="*/ 296 h 366"/>
                  <a:gd name="T42" fmla="*/ 261 w 355"/>
                  <a:gd name="T43" fmla="*/ 347 h 366"/>
                  <a:gd name="T44" fmla="*/ 286 w 355"/>
                  <a:gd name="T45" fmla="*/ 332 h 366"/>
                  <a:gd name="T46" fmla="*/ 257 w 355"/>
                  <a:gd name="T47" fmla="*/ 273 h 366"/>
                  <a:gd name="T48" fmla="*/ 286 w 355"/>
                  <a:gd name="T49" fmla="*/ 332 h 366"/>
                  <a:gd name="T50" fmla="*/ 271 w 355"/>
                  <a:gd name="T51" fmla="*/ 258 h 366"/>
                  <a:gd name="T52" fmla="*/ 330 w 355"/>
                  <a:gd name="T53" fmla="*/ 283 h 366"/>
                  <a:gd name="T54" fmla="*/ 346 w 355"/>
                  <a:gd name="T55" fmla="*/ 250 h 366"/>
                  <a:gd name="T56" fmla="*/ 288 w 355"/>
                  <a:gd name="T57" fmla="*/ 221 h 366"/>
                  <a:gd name="T58" fmla="*/ 346 w 355"/>
                  <a:gd name="T59" fmla="*/ 250 h 366"/>
                  <a:gd name="T60" fmla="*/ 291 w 355"/>
                  <a:gd name="T61" fmla="*/ 198 h 366"/>
                  <a:gd name="T62" fmla="*/ 355 w 355"/>
                  <a:gd name="T63" fmla="*/ 193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55" h="366">
                    <a:moveTo>
                      <a:pt x="351" y="156"/>
                    </a:moveTo>
                    <a:cubicBezTo>
                      <a:pt x="289" y="170"/>
                      <a:pt x="289" y="170"/>
                      <a:pt x="289" y="170"/>
                    </a:cubicBezTo>
                    <a:cubicBezTo>
                      <a:pt x="288" y="167"/>
                      <a:pt x="288" y="167"/>
                      <a:pt x="288" y="167"/>
                    </a:cubicBezTo>
                    <a:cubicBezTo>
                      <a:pt x="350" y="152"/>
                      <a:pt x="350" y="152"/>
                      <a:pt x="350" y="152"/>
                    </a:cubicBezTo>
                    <a:lnTo>
                      <a:pt x="351" y="156"/>
                    </a:lnTo>
                    <a:close/>
                    <a:moveTo>
                      <a:pt x="24" y="258"/>
                    </a:moveTo>
                    <a:cubicBezTo>
                      <a:pt x="83" y="234"/>
                      <a:pt x="83" y="234"/>
                      <a:pt x="83" y="234"/>
                    </a:cubicBezTo>
                    <a:cubicBezTo>
                      <a:pt x="87" y="243"/>
                      <a:pt x="91" y="252"/>
                      <a:pt x="97" y="259"/>
                    </a:cubicBezTo>
                    <a:cubicBezTo>
                      <a:pt x="46" y="297"/>
                      <a:pt x="46" y="297"/>
                      <a:pt x="46" y="297"/>
                    </a:cubicBezTo>
                    <a:cubicBezTo>
                      <a:pt x="37" y="286"/>
                      <a:pt x="30" y="272"/>
                      <a:pt x="24" y="258"/>
                    </a:cubicBezTo>
                    <a:close/>
                    <a:moveTo>
                      <a:pt x="50" y="303"/>
                    </a:moveTo>
                    <a:cubicBezTo>
                      <a:pt x="100" y="263"/>
                      <a:pt x="100" y="263"/>
                      <a:pt x="100" y="263"/>
                    </a:cubicBezTo>
                    <a:cubicBezTo>
                      <a:pt x="105" y="269"/>
                      <a:pt x="111" y="275"/>
                      <a:pt x="118" y="280"/>
                    </a:cubicBezTo>
                    <a:cubicBezTo>
                      <a:pt x="80" y="331"/>
                      <a:pt x="80" y="331"/>
                      <a:pt x="80" y="331"/>
                    </a:cubicBezTo>
                    <a:cubicBezTo>
                      <a:pt x="69" y="323"/>
                      <a:pt x="59" y="313"/>
                      <a:pt x="50" y="303"/>
                    </a:cubicBezTo>
                    <a:close/>
                    <a:moveTo>
                      <a:pt x="89" y="338"/>
                    </a:moveTo>
                    <a:cubicBezTo>
                      <a:pt x="124" y="284"/>
                      <a:pt x="124" y="284"/>
                      <a:pt x="124" y="284"/>
                    </a:cubicBezTo>
                    <a:cubicBezTo>
                      <a:pt x="131" y="289"/>
                      <a:pt x="137" y="292"/>
                      <a:pt x="145" y="295"/>
                    </a:cubicBezTo>
                    <a:cubicBezTo>
                      <a:pt x="122" y="354"/>
                      <a:pt x="122" y="354"/>
                      <a:pt x="122" y="354"/>
                    </a:cubicBezTo>
                    <a:cubicBezTo>
                      <a:pt x="110" y="350"/>
                      <a:pt x="99" y="344"/>
                      <a:pt x="89" y="338"/>
                    </a:cubicBezTo>
                    <a:close/>
                    <a:moveTo>
                      <a:pt x="168" y="365"/>
                    </a:moveTo>
                    <a:cubicBezTo>
                      <a:pt x="157" y="364"/>
                      <a:pt x="147" y="362"/>
                      <a:pt x="137" y="359"/>
                    </a:cubicBezTo>
                    <a:cubicBezTo>
                      <a:pt x="154" y="298"/>
                      <a:pt x="154" y="298"/>
                      <a:pt x="154" y="298"/>
                    </a:cubicBezTo>
                    <a:cubicBezTo>
                      <a:pt x="160" y="300"/>
                      <a:pt x="167" y="301"/>
                      <a:pt x="174" y="302"/>
                    </a:cubicBezTo>
                    <a:lnTo>
                      <a:pt x="168" y="365"/>
                    </a:lnTo>
                    <a:close/>
                    <a:moveTo>
                      <a:pt x="101" y="124"/>
                    </a:moveTo>
                    <a:cubicBezTo>
                      <a:pt x="76" y="153"/>
                      <a:pt x="68" y="197"/>
                      <a:pt x="82" y="233"/>
                    </a:cubicBezTo>
                    <a:cubicBezTo>
                      <a:pt x="23" y="256"/>
                      <a:pt x="23" y="256"/>
                      <a:pt x="23" y="256"/>
                    </a:cubicBezTo>
                    <a:cubicBezTo>
                      <a:pt x="0" y="198"/>
                      <a:pt x="12" y="129"/>
                      <a:pt x="52" y="82"/>
                    </a:cubicBezTo>
                    <a:cubicBezTo>
                      <a:pt x="90" y="37"/>
                      <a:pt x="152" y="15"/>
                      <a:pt x="210" y="24"/>
                    </a:cubicBezTo>
                    <a:cubicBezTo>
                      <a:pt x="214" y="0"/>
                      <a:pt x="214" y="0"/>
                      <a:pt x="214" y="0"/>
                    </a:cubicBezTo>
                    <a:cubicBezTo>
                      <a:pt x="289" y="70"/>
                      <a:pt x="289" y="70"/>
                      <a:pt x="289" y="70"/>
                    </a:cubicBezTo>
                    <a:cubicBezTo>
                      <a:pt x="195" y="112"/>
                      <a:pt x="195" y="112"/>
                      <a:pt x="195" y="112"/>
                    </a:cubicBezTo>
                    <a:cubicBezTo>
                      <a:pt x="200" y="87"/>
                      <a:pt x="200" y="87"/>
                      <a:pt x="200" y="87"/>
                    </a:cubicBezTo>
                    <a:cubicBezTo>
                      <a:pt x="163" y="81"/>
                      <a:pt x="125" y="95"/>
                      <a:pt x="101" y="124"/>
                    </a:cubicBezTo>
                    <a:close/>
                    <a:moveTo>
                      <a:pt x="188" y="366"/>
                    </a:moveTo>
                    <a:cubicBezTo>
                      <a:pt x="187" y="302"/>
                      <a:pt x="187" y="302"/>
                      <a:pt x="187" y="302"/>
                    </a:cubicBezTo>
                    <a:cubicBezTo>
                      <a:pt x="192" y="302"/>
                      <a:pt x="198" y="301"/>
                      <a:pt x="204" y="300"/>
                    </a:cubicBezTo>
                    <a:cubicBezTo>
                      <a:pt x="216" y="363"/>
                      <a:pt x="216" y="363"/>
                      <a:pt x="216" y="363"/>
                    </a:cubicBezTo>
                    <a:cubicBezTo>
                      <a:pt x="207" y="364"/>
                      <a:pt x="198" y="366"/>
                      <a:pt x="188" y="366"/>
                    </a:cubicBezTo>
                    <a:close/>
                    <a:moveTo>
                      <a:pt x="240" y="356"/>
                    </a:moveTo>
                    <a:cubicBezTo>
                      <a:pt x="219" y="296"/>
                      <a:pt x="219" y="296"/>
                      <a:pt x="219" y="296"/>
                    </a:cubicBezTo>
                    <a:cubicBezTo>
                      <a:pt x="223" y="295"/>
                      <a:pt x="228" y="293"/>
                      <a:pt x="232" y="290"/>
                    </a:cubicBezTo>
                    <a:cubicBezTo>
                      <a:pt x="261" y="347"/>
                      <a:pt x="261" y="347"/>
                      <a:pt x="261" y="347"/>
                    </a:cubicBezTo>
                    <a:cubicBezTo>
                      <a:pt x="254" y="351"/>
                      <a:pt x="247" y="354"/>
                      <a:pt x="240" y="356"/>
                    </a:cubicBezTo>
                    <a:close/>
                    <a:moveTo>
                      <a:pt x="286" y="332"/>
                    </a:moveTo>
                    <a:cubicBezTo>
                      <a:pt x="248" y="281"/>
                      <a:pt x="248" y="281"/>
                      <a:pt x="248" y="281"/>
                    </a:cubicBezTo>
                    <a:cubicBezTo>
                      <a:pt x="251" y="279"/>
                      <a:pt x="254" y="276"/>
                      <a:pt x="257" y="273"/>
                    </a:cubicBezTo>
                    <a:cubicBezTo>
                      <a:pt x="300" y="320"/>
                      <a:pt x="300" y="320"/>
                      <a:pt x="300" y="320"/>
                    </a:cubicBezTo>
                    <a:cubicBezTo>
                      <a:pt x="295" y="324"/>
                      <a:pt x="291" y="329"/>
                      <a:pt x="286" y="332"/>
                    </a:cubicBezTo>
                    <a:close/>
                    <a:moveTo>
                      <a:pt x="322" y="295"/>
                    </a:moveTo>
                    <a:cubicBezTo>
                      <a:pt x="271" y="258"/>
                      <a:pt x="271" y="258"/>
                      <a:pt x="271" y="258"/>
                    </a:cubicBezTo>
                    <a:cubicBezTo>
                      <a:pt x="273" y="255"/>
                      <a:pt x="274" y="253"/>
                      <a:pt x="276" y="250"/>
                    </a:cubicBezTo>
                    <a:cubicBezTo>
                      <a:pt x="330" y="283"/>
                      <a:pt x="330" y="283"/>
                      <a:pt x="330" y="283"/>
                    </a:cubicBezTo>
                    <a:cubicBezTo>
                      <a:pt x="328" y="287"/>
                      <a:pt x="325" y="292"/>
                      <a:pt x="322" y="295"/>
                    </a:cubicBezTo>
                    <a:close/>
                    <a:moveTo>
                      <a:pt x="346" y="250"/>
                    </a:moveTo>
                    <a:cubicBezTo>
                      <a:pt x="326" y="243"/>
                      <a:pt x="306" y="237"/>
                      <a:pt x="285" y="230"/>
                    </a:cubicBezTo>
                    <a:cubicBezTo>
                      <a:pt x="287" y="227"/>
                      <a:pt x="287" y="224"/>
                      <a:pt x="288" y="221"/>
                    </a:cubicBezTo>
                    <a:cubicBezTo>
                      <a:pt x="349" y="239"/>
                      <a:pt x="349" y="239"/>
                      <a:pt x="349" y="239"/>
                    </a:cubicBezTo>
                    <a:cubicBezTo>
                      <a:pt x="348" y="243"/>
                      <a:pt x="348" y="246"/>
                      <a:pt x="346" y="250"/>
                    </a:cubicBezTo>
                    <a:close/>
                    <a:moveTo>
                      <a:pt x="355" y="199"/>
                    </a:moveTo>
                    <a:cubicBezTo>
                      <a:pt x="334" y="199"/>
                      <a:pt x="313" y="198"/>
                      <a:pt x="291" y="198"/>
                    </a:cubicBezTo>
                    <a:cubicBezTo>
                      <a:pt x="292" y="193"/>
                      <a:pt x="292" y="193"/>
                      <a:pt x="292" y="193"/>
                    </a:cubicBezTo>
                    <a:cubicBezTo>
                      <a:pt x="313" y="193"/>
                      <a:pt x="334" y="192"/>
                      <a:pt x="355" y="193"/>
                    </a:cubicBezTo>
                    <a:lnTo>
                      <a:pt x="355" y="199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39" tIns="45720" rIns="91439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3F66F6B-661C-475E-A12C-06774D9012C5}"/>
              </a:ext>
            </a:extLst>
          </p:cNvPr>
          <p:cNvCxnSpPr>
            <a:cxnSpLocks/>
          </p:cNvCxnSpPr>
          <p:nvPr/>
        </p:nvCxnSpPr>
        <p:spPr bwMode="gray">
          <a:xfrm>
            <a:off x="487362" y="1611249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BC22985-69A2-44B0-A086-A031AF57459B}"/>
              </a:ext>
            </a:extLst>
          </p:cNvPr>
          <p:cNvCxnSpPr>
            <a:cxnSpLocks/>
          </p:cNvCxnSpPr>
          <p:nvPr/>
        </p:nvCxnSpPr>
        <p:spPr bwMode="gray">
          <a:xfrm>
            <a:off x="487362" y="2615807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ED86E1B-086E-4EFE-A980-1BACC8966261}"/>
              </a:ext>
            </a:extLst>
          </p:cNvPr>
          <p:cNvCxnSpPr>
            <a:cxnSpLocks/>
          </p:cNvCxnSpPr>
          <p:nvPr/>
        </p:nvCxnSpPr>
        <p:spPr bwMode="gray">
          <a:xfrm>
            <a:off x="487362" y="3263511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8FDEA7C-5BF2-40B1-833F-4A6AEB84155C}"/>
              </a:ext>
            </a:extLst>
          </p:cNvPr>
          <p:cNvCxnSpPr>
            <a:cxnSpLocks/>
          </p:cNvCxnSpPr>
          <p:nvPr/>
        </p:nvCxnSpPr>
        <p:spPr bwMode="gray">
          <a:xfrm flipV="1">
            <a:off x="2402505" y="2113528"/>
            <a:ext cx="6413409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Freeform 156">
            <a:extLst>
              <a:ext uri="{FF2B5EF4-FFF2-40B4-BE49-F238E27FC236}">
                <a16:creationId xmlns:a16="http://schemas.microsoft.com/office/drawing/2014/main" id="{3579CB0D-A7F1-4107-9636-9B37EEE440B8}"/>
              </a:ext>
            </a:extLst>
          </p:cNvPr>
          <p:cNvSpPr>
            <a:spLocks noEditPoints="1"/>
          </p:cNvSpPr>
          <p:nvPr/>
        </p:nvSpPr>
        <p:spPr bwMode="gray">
          <a:xfrm>
            <a:off x="8454379" y="4147035"/>
            <a:ext cx="238772" cy="246084"/>
          </a:xfrm>
          <a:custGeom>
            <a:avLst/>
            <a:gdLst>
              <a:gd name="T0" fmla="*/ 289 w 355"/>
              <a:gd name="T1" fmla="*/ 170 h 366"/>
              <a:gd name="T2" fmla="*/ 350 w 355"/>
              <a:gd name="T3" fmla="*/ 152 h 366"/>
              <a:gd name="T4" fmla="*/ 24 w 355"/>
              <a:gd name="T5" fmla="*/ 258 h 366"/>
              <a:gd name="T6" fmla="*/ 97 w 355"/>
              <a:gd name="T7" fmla="*/ 259 h 366"/>
              <a:gd name="T8" fmla="*/ 24 w 355"/>
              <a:gd name="T9" fmla="*/ 258 h 366"/>
              <a:gd name="T10" fmla="*/ 100 w 355"/>
              <a:gd name="T11" fmla="*/ 263 h 366"/>
              <a:gd name="T12" fmla="*/ 80 w 355"/>
              <a:gd name="T13" fmla="*/ 331 h 366"/>
              <a:gd name="T14" fmla="*/ 89 w 355"/>
              <a:gd name="T15" fmla="*/ 338 h 366"/>
              <a:gd name="T16" fmla="*/ 145 w 355"/>
              <a:gd name="T17" fmla="*/ 295 h 366"/>
              <a:gd name="T18" fmla="*/ 89 w 355"/>
              <a:gd name="T19" fmla="*/ 338 h 366"/>
              <a:gd name="T20" fmla="*/ 137 w 355"/>
              <a:gd name="T21" fmla="*/ 359 h 366"/>
              <a:gd name="T22" fmla="*/ 174 w 355"/>
              <a:gd name="T23" fmla="*/ 302 h 366"/>
              <a:gd name="T24" fmla="*/ 101 w 355"/>
              <a:gd name="T25" fmla="*/ 124 h 366"/>
              <a:gd name="T26" fmla="*/ 23 w 355"/>
              <a:gd name="T27" fmla="*/ 256 h 366"/>
              <a:gd name="T28" fmla="*/ 210 w 355"/>
              <a:gd name="T29" fmla="*/ 24 h 366"/>
              <a:gd name="T30" fmla="*/ 289 w 355"/>
              <a:gd name="T31" fmla="*/ 70 h 366"/>
              <a:gd name="T32" fmla="*/ 200 w 355"/>
              <a:gd name="T33" fmla="*/ 87 h 366"/>
              <a:gd name="T34" fmla="*/ 188 w 355"/>
              <a:gd name="T35" fmla="*/ 366 h 366"/>
              <a:gd name="T36" fmla="*/ 204 w 355"/>
              <a:gd name="T37" fmla="*/ 300 h 366"/>
              <a:gd name="T38" fmla="*/ 188 w 355"/>
              <a:gd name="T39" fmla="*/ 366 h 366"/>
              <a:gd name="T40" fmla="*/ 219 w 355"/>
              <a:gd name="T41" fmla="*/ 296 h 366"/>
              <a:gd name="T42" fmla="*/ 261 w 355"/>
              <a:gd name="T43" fmla="*/ 347 h 366"/>
              <a:gd name="T44" fmla="*/ 286 w 355"/>
              <a:gd name="T45" fmla="*/ 332 h 366"/>
              <a:gd name="T46" fmla="*/ 257 w 355"/>
              <a:gd name="T47" fmla="*/ 273 h 366"/>
              <a:gd name="T48" fmla="*/ 286 w 355"/>
              <a:gd name="T49" fmla="*/ 332 h 366"/>
              <a:gd name="T50" fmla="*/ 271 w 355"/>
              <a:gd name="T51" fmla="*/ 258 h 366"/>
              <a:gd name="T52" fmla="*/ 330 w 355"/>
              <a:gd name="T53" fmla="*/ 283 h 366"/>
              <a:gd name="T54" fmla="*/ 346 w 355"/>
              <a:gd name="T55" fmla="*/ 250 h 366"/>
              <a:gd name="T56" fmla="*/ 288 w 355"/>
              <a:gd name="T57" fmla="*/ 221 h 366"/>
              <a:gd name="T58" fmla="*/ 346 w 355"/>
              <a:gd name="T59" fmla="*/ 250 h 366"/>
              <a:gd name="T60" fmla="*/ 291 w 355"/>
              <a:gd name="T61" fmla="*/ 198 h 366"/>
              <a:gd name="T62" fmla="*/ 355 w 355"/>
              <a:gd name="T63" fmla="*/ 19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5" h="366">
                <a:moveTo>
                  <a:pt x="351" y="156"/>
                </a:moveTo>
                <a:cubicBezTo>
                  <a:pt x="289" y="170"/>
                  <a:pt x="289" y="170"/>
                  <a:pt x="289" y="170"/>
                </a:cubicBezTo>
                <a:cubicBezTo>
                  <a:pt x="288" y="167"/>
                  <a:pt x="288" y="167"/>
                  <a:pt x="288" y="167"/>
                </a:cubicBezTo>
                <a:cubicBezTo>
                  <a:pt x="350" y="152"/>
                  <a:pt x="350" y="152"/>
                  <a:pt x="350" y="152"/>
                </a:cubicBezTo>
                <a:lnTo>
                  <a:pt x="351" y="156"/>
                </a:lnTo>
                <a:close/>
                <a:moveTo>
                  <a:pt x="24" y="258"/>
                </a:moveTo>
                <a:cubicBezTo>
                  <a:pt x="83" y="234"/>
                  <a:pt x="83" y="234"/>
                  <a:pt x="83" y="234"/>
                </a:cubicBezTo>
                <a:cubicBezTo>
                  <a:pt x="87" y="243"/>
                  <a:pt x="91" y="252"/>
                  <a:pt x="97" y="259"/>
                </a:cubicBezTo>
                <a:cubicBezTo>
                  <a:pt x="46" y="297"/>
                  <a:pt x="46" y="297"/>
                  <a:pt x="46" y="297"/>
                </a:cubicBezTo>
                <a:cubicBezTo>
                  <a:pt x="37" y="286"/>
                  <a:pt x="30" y="272"/>
                  <a:pt x="24" y="258"/>
                </a:cubicBezTo>
                <a:close/>
                <a:moveTo>
                  <a:pt x="50" y="303"/>
                </a:moveTo>
                <a:cubicBezTo>
                  <a:pt x="100" y="263"/>
                  <a:pt x="100" y="263"/>
                  <a:pt x="100" y="263"/>
                </a:cubicBezTo>
                <a:cubicBezTo>
                  <a:pt x="105" y="269"/>
                  <a:pt x="111" y="275"/>
                  <a:pt x="118" y="280"/>
                </a:cubicBezTo>
                <a:cubicBezTo>
                  <a:pt x="80" y="331"/>
                  <a:pt x="80" y="331"/>
                  <a:pt x="80" y="331"/>
                </a:cubicBezTo>
                <a:cubicBezTo>
                  <a:pt x="69" y="323"/>
                  <a:pt x="59" y="313"/>
                  <a:pt x="50" y="303"/>
                </a:cubicBezTo>
                <a:close/>
                <a:moveTo>
                  <a:pt x="89" y="338"/>
                </a:moveTo>
                <a:cubicBezTo>
                  <a:pt x="124" y="284"/>
                  <a:pt x="124" y="284"/>
                  <a:pt x="124" y="284"/>
                </a:cubicBezTo>
                <a:cubicBezTo>
                  <a:pt x="131" y="289"/>
                  <a:pt x="137" y="292"/>
                  <a:pt x="145" y="295"/>
                </a:cubicBezTo>
                <a:cubicBezTo>
                  <a:pt x="122" y="354"/>
                  <a:pt x="122" y="354"/>
                  <a:pt x="122" y="354"/>
                </a:cubicBezTo>
                <a:cubicBezTo>
                  <a:pt x="110" y="350"/>
                  <a:pt x="99" y="344"/>
                  <a:pt x="89" y="338"/>
                </a:cubicBezTo>
                <a:close/>
                <a:moveTo>
                  <a:pt x="168" y="365"/>
                </a:moveTo>
                <a:cubicBezTo>
                  <a:pt x="157" y="364"/>
                  <a:pt x="147" y="362"/>
                  <a:pt x="137" y="359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60" y="300"/>
                  <a:pt x="167" y="301"/>
                  <a:pt x="174" y="302"/>
                </a:cubicBezTo>
                <a:lnTo>
                  <a:pt x="168" y="365"/>
                </a:lnTo>
                <a:close/>
                <a:moveTo>
                  <a:pt x="101" y="124"/>
                </a:moveTo>
                <a:cubicBezTo>
                  <a:pt x="76" y="153"/>
                  <a:pt x="68" y="197"/>
                  <a:pt x="82" y="233"/>
                </a:cubicBezTo>
                <a:cubicBezTo>
                  <a:pt x="23" y="256"/>
                  <a:pt x="23" y="256"/>
                  <a:pt x="23" y="256"/>
                </a:cubicBezTo>
                <a:cubicBezTo>
                  <a:pt x="0" y="198"/>
                  <a:pt x="12" y="129"/>
                  <a:pt x="52" y="82"/>
                </a:cubicBezTo>
                <a:cubicBezTo>
                  <a:pt x="90" y="37"/>
                  <a:pt x="152" y="15"/>
                  <a:pt x="210" y="24"/>
                </a:cubicBezTo>
                <a:cubicBezTo>
                  <a:pt x="214" y="0"/>
                  <a:pt x="214" y="0"/>
                  <a:pt x="214" y="0"/>
                </a:cubicBezTo>
                <a:cubicBezTo>
                  <a:pt x="289" y="70"/>
                  <a:pt x="289" y="70"/>
                  <a:pt x="289" y="70"/>
                </a:cubicBezTo>
                <a:cubicBezTo>
                  <a:pt x="195" y="112"/>
                  <a:pt x="195" y="112"/>
                  <a:pt x="195" y="112"/>
                </a:cubicBezTo>
                <a:cubicBezTo>
                  <a:pt x="200" y="87"/>
                  <a:pt x="200" y="87"/>
                  <a:pt x="200" y="87"/>
                </a:cubicBezTo>
                <a:cubicBezTo>
                  <a:pt x="163" y="81"/>
                  <a:pt x="125" y="95"/>
                  <a:pt x="101" y="124"/>
                </a:cubicBezTo>
                <a:close/>
                <a:moveTo>
                  <a:pt x="188" y="366"/>
                </a:moveTo>
                <a:cubicBezTo>
                  <a:pt x="187" y="302"/>
                  <a:pt x="187" y="302"/>
                  <a:pt x="187" y="302"/>
                </a:cubicBezTo>
                <a:cubicBezTo>
                  <a:pt x="192" y="302"/>
                  <a:pt x="198" y="301"/>
                  <a:pt x="204" y="300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07" y="364"/>
                  <a:pt x="198" y="366"/>
                  <a:pt x="188" y="366"/>
                </a:cubicBezTo>
                <a:close/>
                <a:moveTo>
                  <a:pt x="240" y="356"/>
                </a:moveTo>
                <a:cubicBezTo>
                  <a:pt x="219" y="296"/>
                  <a:pt x="219" y="296"/>
                  <a:pt x="219" y="296"/>
                </a:cubicBezTo>
                <a:cubicBezTo>
                  <a:pt x="223" y="295"/>
                  <a:pt x="228" y="293"/>
                  <a:pt x="232" y="290"/>
                </a:cubicBezTo>
                <a:cubicBezTo>
                  <a:pt x="261" y="347"/>
                  <a:pt x="261" y="347"/>
                  <a:pt x="261" y="347"/>
                </a:cubicBezTo>
                <a:cubicBezTo>
                  <a:pt x="254" y="351"/>
                  <a:pt x="247" y="354"/>
                  <a:pt x="240" y="356"/>
                </a:cubicBezTo>
                <a:close/>
                <a:moveTo>
                  <a:pt x="286" y="332"/>
                </a:moveTo>
                <a:cubicBezTo>
                  <a:pt x="248" y="281"/>
                  <a:pt x="248" y="281"/>
                  <a:pt x="248" y="281"/>
                </a:cubicBezTo>
                <a:cubicBezTo>
                  <a:pt x="251" y="279"/>
                  <a:pt x="254" y="276"/>
                  <a:pt x="257" y="273"/>
                </a:cubicBezTo>
                <a:cubicBezTo>
                  <a:pt x="300" y="320"/>
                  <a:pt x="300" y="320"/>
                  <a:pt x="300" y="320"/>
                </a:cubicBezTo>
                <a:cubicBezTo>
                  <a:pt x="295" y="324"/>
                  <a:pt x="291" y="329"/>
                  <a:pt x="286" y="332"/>
                </a:cubicBezTo>
                <a:close/>
                <a:moveTo>
                  <a:pt x="322" y="295"/>
                </a:moveTo>
                <a:cubicBezTo>
                  <a:pt x="271" y="258"/>
                  <a:pt x="271" y="258"/>
                  <a:pt x="271" y="258"/>
                </a:cubicBezTo>
                <a:cubicBezTo>
                  <a:pt x="273" y="255"/>
                  <a:pt x="274" y="253"/>
                  <a:pt x="276" y="250"/>
                </a:cubicBezTo>
                <a:cubicBezTo>
                  <a:pt x="330" y="283"/>
                  <a:pt x="330" y="283"/>
                  <a:pt x="330" y="283"/>
                </a:cubicBezTo>
                <a:cubicBezTo>
                  <a:pt x="328" y="287"/>
                  <a:pt x="325" y="292"/>
                  <a:pt x="322" y="295"/>
                </a:cubicBezTo>
                <a:close/>
                <a:moveTo>
                  <a:pt x="346" y="250"/>
                </a:moveTo>
                <a:cubicBezTo>
                  <a:pt x="326" y="243"/>
                  <a:pt x="306" y="237"/>
                  <a:pt x="285" y="230"/>
                </a:cubicBezTo>
                <a:cubicBezTo>
                  <a:pt x="287" y="227"/>
                  <a:pt x="287" y="224"/>
                  <a:pt x="288" y="221"/>
                </a:cubicBezTo>
                <a:cubicBezTo>
                  <a:pt x="349" y="239"/>
                  <a:pt x="349" y="239"/>
                  <a:pt x="349" y="239"/>
                </a:cubicBezTo>
                <a:cubicBezTo>
                  <a:pt x="348" y="243"/>
                  <a:pt x="348" y="246"/>
                  <a:pt x="346" y="250"/>
                </a:cubicBezTo>
                <a:close/>
                <a:moveTo>
                  <a:pt x="355" y="199"/>
                </a:moveTo>
                <a:cubicBezTo>
                  <a:pt x="334" y="199"/>
                  <a:pt x="313" y="198"/>
                  <a:pt x="291" y="198"/>
                </a:cubicBezTo>
                <a:cubicBezTo>
                  <a:pt x="292" y="193"/>
                  <a:pt x="292" y="193"/>
                  <a:pt x="292" y="193"/>
                </a:cubicBezTo>
                <a:cubicBezTo>
                  <a:pt x="313" y="193"/>
                  <a:pt x="334" y="192"/>
                  <a:pt x="355" y="193"/>
                </a:cubicBezTo>
                <a:lnTo>
                  <a:pt x="355" y="19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Freeform 156">
            <a:extLst>
              <a:ext uri="{FF2B5EF4-FFF2-40B4-BE49-F238E27FC236}">
                <a16:creationId xmlns:a16="http://schemas.microsoft.com/office/drawing/2014/main" id="{D42A19F5-ED79-40DE-93C1-2264295F414C}"/>
              </a:ext>
            </a:extLst>
          </p:cNvPr>
          <p:cNvSpPr>
            <a:spLocks noEditPoints="1"/>
          </p:cNvSpPr>
          <p:nvPr/>
        </p:nvSpPr>
        <p:spPr bwMode="gray">
          <a:xfrm>
            <a:off x="8454379" y="2816617"/>
            <a:ext cx="238772" cy="246084"/>
          </a:xfrm>
          <a:custGeom>
            <a:avLst/>
            <a:gdLst>
              <a:gd name="T0" fmla="*/ 289 w 355"/>
              <a:gd name="T1" fmla="*/ 170 h 366"/>
              <a:gd name="T2" fmla="*/ 350 w 355"/>
              <a:gd name="T3" fmla="*/ 152 h 366"/>
              <a:gd name="T4" fmla="*/ 24 w 355"/>
              <a:gd name="T5" fmla="*/ 258 h 366"/>
              <a:gd name="T6" fmla="*/ 97 w 355"/>
              <a:gd name="T7" fmla="*/ 259 h 366"/>
              <a:gd name="T8" fmla="*/ 24 w 355"/>
              <a:gd name="T9" fmla="*/ 258 h 366"/>
              <a:gd name="T10" fmla="*/ 100 w 355"/>
              <a:gd name="T11" fmla="*/ 263 h 366"/>
              <a:gd name="T12" fmla="*/ 80 w 355"/>
              <a:gd name="T13" fmla="*/ 331 h 366"/>
              <a:gd name="T14" fmla="*/ 89 w 355"/>
              <a:gd name="T15" fmla="*/ 338 h 366"/>
              <a:gd name="T16" fmla="*/ 145 w 355"/>
              <a:gd name="T17" fmla="*/ 295 h 366"/>
              <a:gd name="T18" fmla="*/ 89 w 355"/>
              <a:gd name="T19" fmla="*/ 338 h 366"/>
              <a:gd name="T20" fmla="*/ 137 w 355"/>
              <a:gd name="T21" fmla="*/ 359 h 366"/>
              <a:gd name="T22" fmla="*/ 174 w 355"/>
              <a:gd name="T23" fmla="*/ 302 h 366"/>
              <a:gd name="T24" fmla="*/ 101 w 355"/>
              <a:gd name="T25" fmla="*/ 124 h 366"/>
              <a:gd name="T26" fmla="*/ 23 w 355"/>
              <a:gd name="T27" fmla="*/ 256 h 366"/>
              <a:gd name="T28" fmla="*/ 210 w 355"/>
              <a:gd name="T29" fmla="*/ 24 h 366"/>
              <a:gd name="T30" fmla="*/ 289 w 355"/>
              <a:gd name="T31" fmla="*/ 70 h 366"/>
              <a:gd name="T32" fmla="*/ 200 w 355"/>
              <a:gd name="T33" fmla="*/ 87 h 366"/>
              <a:gd name="T34" fmla="*/ 188 w 355"/>
              <a:gd name="T35" fmla="*/ 366 h 366"/>
              <a:gd name="T36" fmla="*/ 204 w 355"/>
              <a:gd name="T37" fmla="*/ 300 h 366"/>
              <a:gd name="T38" fmla="*/ 188 w 355"/>
              <a:gd name="T39" fmla="*/ 366 h 366"/>
              <a:gd name="T40" fmla="*/ 219 w 355"/>
              <a:gd name="T41" fmla="*/ 296 h 366"/>
              <a:gd name="T42" fmla="*/ 261 w 355"/>
              <a:gd name="T43" fmla="*/ 347 h 366"/>
              <a:gd name="T44" fmla="*/ 286 w 355"/>
              <a:gd name="T45" fmla="*/ 332 h 366"/>
              <a:gd name="T46" fmla="*/ 257 w 355"/>
              <a:gd name="T47" fmla="*/ 273 h 366"/>
              <a:gd name="T48" fmla="*/ 286 w 355"/>
              <a:gd name="T49" fmla="*/ 332 h 366"/>
              <a:gd name="T50" fmla="*/ 271 w 355"/>
              <a:gd name="T51" fmla="*/ 258 h 366"/>
              <a:gd name="T52" fmla="*/ 330 w 355"/>
              <a:gd name="T53" fmla="*/ 283 h 366"/>
              <a:gd name="T54" fmla="*/ 346 w 355"/>
              <a:gd name="T55" fmla="*/ 250 h 366"/>
              <a:gd name="T56" fmla="*/ 288 w 355"/>
              <a:gd name="T57" fmla="*/ 221 h 366"/>
              <a:gd name="T58" fmla="*/ 346 w 355"/>
              <a:gd name="T59" fmla="*/ 250 h 366"/>
              <a:gd name="T60" fmla="*/ 291 w 355"/>
              <a:gd name="T61" fmla="*/ 198 h 366"/>
              <a:gd name="T62" fmla="*/ 355 w 355"/>
              <a:gd name="T63" fmla="*/ 19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5" h="366">
                <a:moveTo>
                  <a:pt x="351" y="156"/>
                </a:moveTo>
                <a:cubicBezTo>
                  <a:pt x="289" y="170"/>
                  <a:pt x="289" y="170"/>
                  <a:pt x="289" y="170"/>
                </a:cubicBezTo>
                <a:cubicBezTo>
                  <a:pt x="288" y="167"/>
                  <a:pt x="288" y="167"/>
                  <a:pt x="288" y="167"/>
                </a:cubicBezTo>
                <a:cubicBezTo>
                  <a:pt x="350" y="152"/>
                  <a:pt x="350" y="152"/>
                  <a:pt x="350" y="152"/>
                </a:cubicBezTo>
                <a:lnTo>
                  <a:pt x="351" y="156"/>
                </a:lnTo>
                <a:close/>
                <a:moveTo>
                  <a:pt x="24" y="258"/>
                </a:moveTo>
                <a:cubicBezTo>
                  <a:pt x="83" y="234"/>
                  <a:pt x="83" y="234"/>
                  <a:pt x="83" y="234"/>
                </a:cubicBezTo>
                <a:cubicBezTo>
                  <a:pt x="87" y="243"/>
                  <a:pt x="91" y="252"/>
                  <a:pt x="97" y="259"/>
                </a:cubicBezTo>
                <a:cubicBezTo>
                  <a:pt x="46" y="297"/>
                  <a:pt x="46" y="297"/>
                  <a:pt x="46" y="297"/>
                </a:cubicBezTo>
                <a:cubicBezTo>
                  <a:pt x="37" y="286"/>
                  <a:pt x="30" y="272"/>
                  <a:pt x="24" y="258"/>
                </a:cubicBezTo>
                <a:close/>
                <a:moveTo>
                  <a:pt x="50" y="303"/>
                </a:moveTo>
                <a:cubicBezTo>
                  <a:pt x="100" y="263"/>
                  <a:pt x="100" y="263"/>
                  <a:pt x="100" y="263"/>
                </a:cubicBezTo>
                <a:cubicBezTo>
                  <a:pt x="105" y="269"/>
                  <a:pt x="111" y="275"/>
                  <a:pt x="118" y="280"/>
                </a:cubicBezTo>
                <a:cubicBezTo>
                  <a:pt x="80" y="331"/>
                  <a:pt x="80" y="331"/>
                  <a:pt x="80" y="331"/>
                </a:cubicBezTo>
                <a:cubicBezTo>
                  <a:pt x="69" y="323"/>
                  <a:pt x="59" y="313"/>
                  <a:pt x="50" y="303"/>
                </a:cubicBezTo>
                <a:close/>
                <a:moveTo>
                  <a:pt x="89" y="338"/>
                </a:moveTo>
                <a:cubicBezTo>
                  <a:pt x="124" y="284"/>
                  <a:pt x="124" y="284"/>
                  <a:pt x="124" y="284"/>
                </a:cubicBezTo>
                <a:cubicBezTo>
                  <a:pt x="131" y="289"/>
                  <a:pt x="137" y="292"/>
                  <a:pt x="145" y="295"/>
                </a:cubicBezTo>
                <a:cubicBezTo>
                  <a:pt x="122" y="354"/>
                  <a:pt x="122" y="354"/>
                  <a:pt x="122" y="354"/>
                </a:cubicBezTo>
                <a:cubicBezTo>
                  <a:pt x="110" y="350"/>
                  <a:pt x="99" y="344"/>
                  <a:pt x="89" y="338"/>
                </a:cubicBezTo>
                <a:close/>
                <a:moveTo>
                  <a:pt x="168" y="365"/>
                </a:moveTo>
                <a:cubicBezTo>
                  <a:pt x="157" y="364"/>
                  <a:pt x="147" y="362"/>
                  <a:pt x="137" y="359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60" y="300"/>
                  <a:pt x="167" y="301"/>
                  <a:pt x="174" y="302"/>
                </a:cubicBezTo>
                <a:lnTo>
                  <a:pt x="168" y="365"/>
                </a:lnTo>
                <a:close/>
                <a:moveTo>
                  <a:pt x="101" y="124"/>
                </a:moveTo>
                <a:cubicBezTo>
                  <a:pt x="76" y="153"/>
                  <a:pt x="68" y="197"/>
                  <a:pt x="82" y="233"/>
                </a:cubicBezTo>
                <a:cubicBezTo>
                  <a:pt x="23" y="256"/>
                  <a:pt x="23" y="256"/>
                  <a:pt x="23" y="256"/>
                </a:cubicBezTo>
                <a:cubicBezTo>
                  <a:pt x="0" y="198"/>
                  <a:pt x="12" y="129"/>
                  <a:pt x="52" y="82"/>
                </a:cubicBezTo>
                <a:cubicBezTo>
                  <a:pt x="90" y="37"/>
                  <a:pt x="152" y="15"/>
                  <a:pt x="210" y="24"/>
                </a:cubicBezTo>
                <a:cubicBezTo>
                  <a:pt x="214" y="0"/>
                  <a:pt x="214" y="0"/>
                  <a:pt x="214" y="0"/>
                </a:cubicBezTo>
                <a:cubicBezTo>
                  <a:pt x="289" y="70"/>
                  <a:pt x="289" y="70"/>
                  <a:pt x="289" y="70"/>
                </a:cubicBezTo>
                <a:cubicBezTo>
                  <a:pt x="195" y="112"/>
                  <a:pt x="195" y="112"/>
                  <a:pt x="195" y="112"/>
                </a:cubicBezTo>
                <a:cubicBezTo>
                  <a:pt x="200" y="87"/>
                  <a:pt x="200" y="87"/>
                  <a:pt x="200" y="87"/>
                </a:cubicBezTo>
                <a:cubicBezTo>
                  <a:pt x="163" y="81"/>
                  <a:pt x="125" y="95"/>
                  <a:pt x="101" y="124"/>
                </a:cubicBezTo>
                <a:close/>
                <a:moveTo>
                  <a:pt x="188" y="366"/>
                </a:moveTo>
                <a:cubicBezTo>
                  <a:pt x="187" y="302"/>
                  <a:pt x="187" y="302"/>
                  <a:pt x="187" y="302"/>
                </a:cubicBezTo>
                <a:cubicBezTo>
                  <a:pt x="192" y="302"/>
                  <a:pt x="198" y="301"/>
                  <a:pt x="204" y="300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07" y="364"/>
                  <a:pt x="198" y="366"/>
                  <a:pt x="188" y="366"/>
                </a:cubicBezTo>
                <a:close/>
                <a:moveTo>
                  <a:pt x="240" y="356"/>
                </a:moveTo>
                <a:cubicBezTo>
                  <a:pt x="219" y="296"/>
                  <a:pt x="219" y="296"/>
                  <a:pt x="219" y="296"/>
                </a:cubicBezTo>
                <a:cubicBezTo>
                  <a:pt x="223" y="295"/>
                  <a:pt x="228" y="293"/>
                  <a:pt x="232" y="290"/>
                </a:cubicBezTo>
                <a:cubicBezTo>
                  <a:pt x="261" y="347"/>
                  <a:pt x="261" y="347"/>
                  <a:pt x="261" y="347"/>
                </a:cubicBezTo>
                <a:cubicBezTo>
                  <a:pt x="254" y="351"/>
                  <a:pt x="247" y="354"/>
                  <a:pt x="240" y="356"/>
                </a:cubicBezTo>
                <a:close/>
                <a:moveTo>
                  <a:pt x="286" y="332"/>
                </a:moveTo>
                <a:cubicBezTo>
                  <a:pt x="248" y="281"/>
                  <a:pt x="248" y="281"/>
                  <a:pt x="248" y="281"/>
                </a:cubicBezTo>
                <a:cubicBezTo>
                  <a:pt x="251" y="279"/>
                  <a:pt x="254" y="276"/>
                  <a:pt x="257" y="273"/>
                </a:cubicBezTo>
                <a:cubicBezTo>
                  <a:pt x="300" y="320"/>
                  <a:pt x="300" y="320"/>
                  <a:pt x="300" y="320"/>
                </a:cubicBezTo>
                <a:cubicBezTo>
                  <a:pt x="295" y="324"/>
                  <a:pt x="291" y="329"/>
                  <a:pt x="286" y="332"/>
                </a:cubicBezTo>
                <a:close/>
                <a:moveTo>
                  <a:pt x="322" y="295"/>
                </a:moveTo>
                <a:cubicBezTo>
                  <a:pt x="271" y="258"/>
                  <a:pt x="271" y="258"/>
                  <a:pt x="271" y="258"/>
                </a:cubicBezTo>
                <a:cubicBezTo>
                  <a:pt x="273" y="255"/>
                  <a:pt x="274" y="253"/>
                  <a:pt x="276" y="250"/>
                </a:cubicBezTo>
                <a:cubicBezTo>
                  <a:pt x="330" y="283"/>
                  <a:pt x="330" y="283"/>
                  <a:pt x="330" y="283"/>
                </a:cubicBezTo>
                <a:cubicBezTo>
                  <a:pt x="328" y="287"/>
                  <a:pt x="325" y="292"/>
                  <a:pt x="322" y="295"/>
                </a:cubicBezTo>
                <a:close/>
                <a:moveTo>
                  <a:pt x="346" y="250"/>
                </a:moveTo>
                <a:cubicBezTo>
                  <a:pt x="326" y="243"/>
                  <a:pt x="306" y="237"/>
                  <a:pt x="285" y="230"/>
                </a:cubicBezTo>
                <a:cubicBezTo>
                  <a:pt x="287" y="227"/>
                  <a:pt x="287" y="224"/>
                  <a:pt x="288" y="221"/>
                </a:cubicBezTo>
                <a:cubicBezTo>
                  <a:pt x="349" y="239"/>
                  <a:pt x="349" y="239"/>
                  <a:pt x="349" y="239"/>
                </a:cubicBezTo>
                <a:cubicBezTo>
                  <a:pt x="348" y="243"/>
                  <a:pt x="348" y="246"/>
                  <a:pt x="346" y="250"/>
                </a:cubicBezTo>
                <a:close/>
                <a:moveTo>
                  <a:pt x="355" y="199"/>
                </a:moveTo>
                <a:cubicBezTo>
                  <a:pt x="334" y="199"/>
                  <a:pt x="313" y="198"/>
                  <a:pt x="291" y="198"/>
                </a:cubicBezTo>
                <a:cubicBezTo>
                  <a:pt x="292" y="193"/>
                  <a:pt x="292" y="193"/>
                  <a:pt x="292" y="193"/>
                </a:cubicBezTo>
                <a:cubicBezTo>
                  <a:pt x="313" y="193"/>
                  <a:pt x="334" y="192"/>
                  <a:pt x="355" y="193"/>
                </a:cubicBezTo>
                <a:lnTo>
                  <a:pt x="355" y="19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Freeform 99">
            <a:extLst>
              <a:ext uri="{FF2B5EF4-FFF2-40B4-BE49-F238E27FC236}">
                <a16:creationId xmlns:a16="http://schemas.microsoft.com/office/drawing/2014/main" id="{09D87F8B-F046-4A6D-89B5-2ECFE514C14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8435434" y="2233437"/>
            <a:ext cx="276660" cy="26246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none" lIns="91439" tIns="45720" rIns="91439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1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94A6026-12EE-416A-B2A2-9282B077C95E}"/>
              </a:ext>
            </a:extLst>
          </p:cNvPr>
          <p:cNvCxnSpPr>
            <a:cxnSpLocks/>
          </p:cNvCxnSpPr>
          <p:nvPr/>
        </p:nvCxnSpPr>
        <p:spPr bwMode="gray">
          <a:xfrm>
            <a:off x="487362" y="3911215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DBD2A2D-1A69-4B31-815C-625BE42260C7}"/>
              </a:ext>
            </a:extLst>
          </p:cNvPr>
          <p:cNvCxnSpPr>
            <a:cxnSpLocks/>
          </p:cNvCxnSpPr>
          <p:nvPr/>
        </p:nvCxnSpPr>
        <p:spPr bwMode="gray">
          <a:xfrm>
            <a:off x="487362" y="4628942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Freeform 156">
            <a:extLst>
              <a:ext uri="{FF2B5EF4-FFF2-40B4-BE49-F238E27FC236}">
                <a16:creationId xmlns:a16="http://schemas.microsoft.com/office/drawing/2014/main" id="{507A427F-F429-4B78-AABE-D25B5D17EEF9}"/>
              </a:ext>
            </a:extLst>
          </p:cNvPr>
          <p:cNvSpPr>
            <a:spLocks noEditPoints="1"/>
          </p:cNvSpPr>
          <p:nvPr/>
        </p:nvSpPr>
        <p:spPr bwMode="gray">
          <a:xfrm>
            <a:off x="8454379" y="1739347"/>
            <a:ext cx="238772" cy="246084"/>
          </a:xfrm>
          <a:custGeom>
            <a:avLst/>
            <a:gdLst>
              <a:gd name="T0" fmla="*/ 289 w 355"/>
              <a:gd name="T1" fmla="*/ 170 h 366"/>
              <a:gd name="T2" fmla="*/ 350 w 355"/>
              <a:gd name="T3" fmla="*/ 152 h 366"/>
              <a:gd name="T4" fmla="*/ 24 w 355"/>
              <a:gd name="T5" fmla="*/ 258 h 366"/>
              <a:gd name="T6" fmla="*/ 97 w 355"/>
              <a:gd name="T7" fmla="*/ 259 h 366"/>
              <a:gd name="T8" fmla="*/ 24 w 355"/>
              <a:gd name="T9" fmla="*/ 258 h 366"/>
              <a:gd name="T10" fmla="*/ 100 w 355"/>
              <a:gd name="T11" fmla="*/ 263 h 366"/>
              <a:gd name="T12" fmla="*/ 80 w 355"/>
              <a:gd name="T13" fmla="*/ 331 h 366"/>
              <a:gd name="T14" fmla="*/ 89 w 355"/>
              <a:gd name="T15" fmla="*/ 338 h 366"/>
              <a:gd name="T16" fmla="*/ 145 w 355"/>
              <a:gd name="T17" fmla="*/ 295 h 366"/>
              <a:gd name="T18" fmla="*/ 89 w 355"/>
              <a:gd name="T19" fmla="*/ 338 h 366"/>
              <a:gd name="T20" fmla="*/ 137 w 355"/>
              <a:gd name="T21" fmla="*/ 359 h 366"/>
              <a:gd name="T22" fmla="*/ 174 w 355"/>
              <a:gd name="T23" fmla="*/ 302 h 366"/>
              <a:gd name="T24" fmla="*/ 101 w 355"/>
              <a:gd name="T25" fmla="*/ 124 h 366"/>
              <a:gd name="T26" fmla="*/ 23 w 355"/>
              <a:gd name="T27" fmla="*/ 256 h 366"/>
              <a:gd name="T28" fmla="*/ 210 w 355"/>
              <a:gd name="T29" fmla="*/ 24 h 366"/>
              <a:gd name="T30" fmla="*/ 289 w 355"/>
              <a:gd name="T31" fmla="*/ 70 h 366"/>
              <a:gd name="T32" fmla="*/ 200 w 355"/>
              <a:gd name="T33" fmla="*/ 87 h 366"/>
              <a:gd name="T34" fmla="*/ 188 w 355"/>
              <a:gd name="T35" fmla="*/ 366 h 366"/>
              <a:gd name="T36" fmla="*/ 204 w 355"/>
              <a:gd name="T37" fmla="*/ 300 h 366"/>
              <a:gd name="T38" fmla="*/ 188 w 355"/>
              <a:gd name="T39" fmla="*/ 366 h 366"/>
              <a:gd name="T40" fmla="*/ 219 w 355"/>
              <a:gd name="T41" fmla="*/ 296 h 366"/>
              <a:gd name="T42" fmla="*/ 261 w 355"/>
              <a:gd name="T43" fmla="*/ 347 h 366"/>
              <a:gd name="T44" fmla="*/ 286 w 355"/>
              <a:gd name="T45" fmla="*/ 332 h 366"/>
              <a:gd name="T46" fmla="*/ 257 w 355"/>
              <a:gd name="T47" fmla="*/ 273 h 366"/>
              <a:gd name="T48" fmla="*/ 286 w 355"/>
              <a:gd name="T49" fmla="*/ 332 h 366"/>
              <a:gd name="T50" fmla="*/ 271 w 355"/>
              <a:gd name="T51" fmla="*/ 258 h 366"/>
              <a:gd name="T52" fmla="*/ 330 w 355"/>
              <a:gd name="T53" fmla="*/ 283 h 366"/>
              <a:gd name="T54" fmla="*/ 346 w 355"/>
              <a:gd name="T55" fmla="*/ 250 h 366"/>
              <a:gd name="T56" fmla="*/ 288 w 355"/>
              <a:gd name="T57" fmla="*/ 221 h 366"/>
              <a:gd name="T58" fmla="*/ 346 w 355"/>
              <a:gd name="T59" fmla="*/ 250 h 366"/>
              <a:gd name="T60" fmla="*/ 291 w 355"/>
              <a:gd name="T61" fmla="*/ 198 h 366"/>
              <a:gd name="T62" fmla="*/ 355 w 355"/>
              <a:gd name="T63" fmla="*/ 19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5" h="366">
                <a:moveTo>
                  <a:pt x="351" y="156"/>
                </a:moveTo>
                <a:cubicBezTo>
                  <a:pt x="289" y="170"/>
                  <a:pt x="289" y="170"/>
                  <a:pt x="289" y="170"/>
                </a:cubicBezTo>
                <a:cubicBezTo>
                  <a:pt x="288" y="167"/>
                  <a:pt x="288" y="167"/>
                  <a:pt x="288" y="167"/>
                </a:cubicBezTo>
                <a:cubicBezTo>
                  <a:pt x="350" y="152"/>
                  <a:pt x="350" y="152"/>
                  <a:pt x="350" y="152"/>
                </a:cubicBezTo>
                <a:lnTo>
                  <a:pt x="351" y="156"/>
                </a:lnTo>
                <a:close/>
                <a:moveTo>
                  <a:pt x="24" y="258"/>
                </a:moveTo>
                <a:cubicBezTo>
                  <a:pt x="83" y="234"/>
                  <a:pt x="83" y="234"/>
                  <a:pt x="83" y="234"/>
                </a:cubicBezTo>
                <a:cubicBezTo>
                  <a:pt x="87" y="243"/>
                  <a:pt x="91" y="252"/>
                  <a:pt x="97" y="259"/>
                </a:cubicBezTo>
                <a:cubicBezTo>
                  <a:pt x="46" y="297"/>
                  <a:pt x="46" y="297"/>
                  <a:pt x="46" y="297"/>
                </a:cubicBezTo>
                <a:cubicBezTo>
                  <a:pt x="37" y="286"/>
                  <a:pt x="30" y="272"/>
                  <a:pt x="24" y="258"/>
                </a:cubicBezTo>
                <a:close/>
                <a:moveTo>
                  <a:pt x="50" y="303"/>
                </a:moveTo>
                <a:cubicBezTo>
                  <a:pt x="100" y="263"/>
                  <a:pt x="100" y="263"/>
                  <a:pt x="100" y="263"/>
                </a:cubicBezTo>
                <a:cubicBezTo>
                  <a:pt x="105" y="269"/>
                  <a:pt x="111" y="275"/>
                  <a:pt x="118" y="280"/>
                </a:cubicBezTo>
                <a:cubicBezTo>
                  <a:pt x="80" y="331"/>
                  <a:pt x="80" y="331"/>
                  <a:pt x="80" y="331"/>
                </a:cubicBezTo>
                <a:cubicBezTo>
                  <a:pt x="69" y="323"/>
                  <a:pt x="59" y="313"/>
                  <a:pt x="50" y="303"/>
                </a:cubicBezTo>
                <a:close/>
                <a:moveTo>
                  <a:pt x="89" y="338"/>
                </a:moveTo>
                <a:cubicBezTo>
                  <a:pt x="124" y="284"/>
                  <a:pt x="124" y="284"/>
                  <a:pt x="124" y="284"/>
                </a:cubicBezTo>
                <a:cubicBezTo>
                  <a:pt x="131" y="289"/>
                  <a:pt x="137" y="292"/>
                  <a:pt x="145" y="295"/>
                </a:cubicBezTo>
                <a:cubicBezTo>
                  <a:pt x="122" y="354"/>
                  <a:pt x="122" y="354"/>
                  <a:pt x="122" y="354"/>
                </a:cubicBezTo>
                <a:cubicBezTo>
                  <a:pt x="110" y="350"/>
                  <a:pt x="99" y="344"/>
                  <a:pt x="89" y="338"/>
                </a:cubicBezTo>
                <a:close/>
                <a:moveTo>
                  <a:pt x="168" y="365"/>
                </a:moveTo>
                <a:cubicBezTo>
                  <a:pt x="157" y="364"/>
                  <a:pt x="147" y="362"/>
                  <a:pt x="137" y="359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60" y="300"/>
                  <a:pt x="167" y="301"/>
                  <a:pt x="174" y="302"/>
                </a:cubicBezTo>
                <a:lnTo>
                  <a:pt x="168" y="365"/>
                </a:lnTo>
                <a:close/>
                <a:moveTo>
                  <a:pt x="101" y="124"/>
                </a:moveTo>
                <a:cubicBezTo>
                  <a:pt x="76" y="153"/>
                  <a:pt x="68" y="197"/>
                  <a:pt x="82" y="233"/>
                </a:cubicBezTo>
                <a:cubicBezTo>
                  <a:pt x="23" y="256"/>
                  <a:pt x="23" y="256"/>
                  <a:pt x="23" y="256"/>
                </a:cubicBezTo>
                <a:cubicBezTo>
                  <a:pt x="0" y="198"/>
                  <a:pt x="12" y="129"/>
                  <a:pt x="52" y="82"/>
                </a:cubicBezTo>
                <a:cubicBezTo>
                  <a:pt x="90" y="37"/>
                  <a:pt x="152" y="15"/>
                  <a:pt x="210" y="24"/>
                </a:cubicBezTo>
                <a:cubicBezTo>
                  <a:pt x="214" y="0"/>
                  <a:pt x="214" y="0"/>
                  <a:pt x="214" y="0"/>
                </a:cubicBezTo>
                <a:cubicBezTo>
                  <a:pt x="289" y="70"/>
                  <a:pt x="289" y="70"/>
                  <a:pt x="289" y="70"/>
                </a:cubicBezTo>
                <a:cubicBezTo>
                  <a:pt x="195" y="112"/>
                  <a:pt x="195" y="112"/>
                  <a:pt x="195" y="112"/>
                </a:cubicBezTo>
                <a:cubicBezTo>
                  <a:pt x="200" y="87"/>
                  <a:pt x="200" y="87"/>
                  <a:pt x="200" y="87"/>
                </a:cubicBezTo>
                <a:cubicBezTo>
                  <a:pt x="163" y="81"/>
                  <a:pt x="125" y="95"/>
                  <a:pt x="101" y="124"/>
                </a:cubicBezTo>
                <a:close/>
                <a:moveTo>
                  <a:pt x="188" y="366"/>
                </a:moveTo>
                <a:cubicBezTo>
                  <a:pt x="187" y="302"/>
                  <a:pt x="187" y="302"/>
                  <a:pt x="187" y="302"/>
                </a:cubicBezTo>
                <a:cubicBezTo>
                  <a:pt x="192" y="302"/>
                  <a:pt x="198" y="301"/>
                  <a:pt x="204" y="300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07" y="364"/>
                  <a:pt x="198" y="366"/>
                  <a:pt x="188" y="366"/>
                </a:cubicBezTo>
                <a:close/>
                <a:moveTo>
                  <a:pt x="240" y="356"/>
                </a:moveTo>
                <a:cubicBezTo>
                  <a:pt x="219" y="296"/>
                  <a:pt x="219" y="296"/>
                  <a:pt x="219" y="296"/>
                </a:cubicBezTo>
                <a:cubicBezTo>
                  <a:pt x="223" y="295"/>
                  <a:pt x="228" y="293"/>
                  <a:pt x="232" y="290"/>
                </a:cubicBezTo>
                <a:cubicBezTo>
                  <a:pt x="261" y="347"/>
                  <a:pt x="261" y="347"/>
                  <a:pt x="261" y="347"/>
                </a:cubicBezTo>
                <a:cubicBezTo>
                  <a:pt x="254" y="351"/>
                  <a:pt x="247" y="354"/>
                  <a:pt x="240" y="356"/>
                </a:cubicBezTo>
                <a:close/>
                <a:moveTo>
                  <a:pt x="286" y="332"/>
                </a:moveTo>
                <a:cubicBezTo>
                  <a:pt x="248" y="281"/>
                  <a:pt x="248" y="281"/>
                  <a:pt x="248" y="281"/>
                </a:cubicBezTo>
                <a:cubicBezTo>
                  <a:pt x="251" y="279"/>
                  <a:pt x="254" y="276"/>
                  <a:pt x="257" y="273"/>
                </a:cubicBezTo>
                <a:cubicBezTo>
                  <a:pt x="300" y="320"/>
                  <a:pt x="300" y="320"/>
                  <a:pt x="300" y="320"/>
                </a:cubicBezTo>
                <a:cubicBezTo>
                  <a:pt x="295" y="324"/>
                  <a:pt x="291" y="329"/>
                  <a:pt x="286" y="332"/>
                </a:cubicBezTo>
                <a:close/>
                <a:moveTo>
                  <a:pt x="322" y="295"/>
                </a:moveTo>
                <a:cubicBezTo>
                  <a:pt x="271" y="258"/>
                  <a:pt x="271" y="258"/>
                  <a:pt x="271" y="258"/>
                </a:cubicBezTo>
                <a:cubicBezTo>
                  <a:pt x="273" y="255"/>
                  <a:pt x="274" y="253"/>
                  <a:pt x="276" y="250"/>
                </a:cubicBezTo>
                <a:cubicBezTo>
                  <a:pt x="330" y="283"/>
                  <a:pt x="330" y="283"/>
                  <a:pt x="330" y="283"/>
                </a:cubicBezTo>
                <a:cubicBezTo>
                  <a:pt x="328" y="287"/>
                  <a:pt x="325" y="292"/>
                  <a:pt x="322" y="295"/>
                </a:cubicBezTo>
                <a:close/>
                <a:moveTo>
                  <a:pt x="346" y="250"/>
                </a:moveTo>
                <a:cubicBezTo>
                  <a:pt x="326" y="243"/>
                  <a:pt x="306" y="237"/>
                  <a:pt x="285" y="230"/>
                </a:cubicBezTo>
                <a:cubicBezTo>
                  <a:pt x="287" y="227"/>
                  <a:pt x="287" y="224"/>
                  <a:pt x="288" y="221"/>
                </a:cubicBezTo>
                <a:cubicBezTo>
                  <a:pt x="349" y="239"/>
                  <a:pt x="349" y="239"/>
                  <a:pt x="349" y="239"/>
                </a:cubicBezTo>
                <a:cubicBezTo>
                  <a:pt x="348" y="243"/>
                  <a:pt x="348" y="246"/>
                  <a:pt x="346" y="250"/>
                </a:cubicBezTo>
                <a:close/>
                <a:moveTo>
                  <a:pt x="355" y="199"/>
                </a:moveTo>
                <a:cubicBezTo>
                  <a:pt x="334" y="199"/>
                  <a:pt x="313" y="198"/>
                  <a:pt x="291" y="198"/>
                </a:cubicBezTo>
                <a:cubicBezTo>
                  <a:pt x="292" y="193"/>
                  <a:pt x="292" y="193"/>
                  <a:pt x="292" y="193"/>
                </a:cubicBezTo>
                <a:cubicBezTo>
                  <a:pt x="313" y="193"/>
                  <a:pt x="334" y="192"/>
                  <a:pt x="355" y="193"/>
                </a:cubicBezTo>
                <a:lnTo>
                  <a:pt x="355" y="19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Freeform 156">
            <a:extLst>
              <a:ext uri="{FF2B5EF4-FFF2-40B4-BE49-F238E27FC236}">
                <a16:creationId xmlns:a16="http://schemas.microsoft.com/office/drawing/2014/main" id="{B01F67B1-A829-4B9D-A6A6-274E93CF3670}"/>
              </a:ext>
            </a:extLst>
          </p:cNvPr>
          <p:cNvSpPr>
            <a:spLocks noEditPoints="1"/>
          </p:cNvSpPr>
          <p:nvPr/>
        </p:nvSpPr>
        <p:spPr bwMode="gray">
          <a:xfrm>
            <a:off x="8454379" y="3464322"/>
            <a:ext cx="238772" cy="246084"/>
          </a:xfrm>
          <a:custGeom>
            <a:avLst/>
            <a:gdLst>
              <a:gd name="T0" fmla="*/ 289 w 355"/>
              <a:gd name="T1" fmla="*/ 170 h 366"/>
              <a:gd name="T2" fmla="*/ 350 w 355"/>
              <a:gd name="T3" fmla="*/ 152 h 366"/>
              <a:gd name="T4" fmla="*/ 24 w 355"/>
              <a:gd name="T5" fmla="*/ 258 h 366"/>
              <a:gd name="T6" fmla="*/ 97 w 355"/>
              <a:gd name="T7" fmla="*/ 259 h 366"/>
              <a:gd name="T8" fmla="*/ 24 w 355"/>
              <a:gd name="T9" fmla="*/ 258 h 366"/>
              <a:gd name="T10" fmla="*/ 100 w 355"/>
              <a:gd name="T11" fmla="*/ 263 h 366"/>
              <a:gd name="T12" fmla="*/ 80 w 355"/>
              <a:gd name="T13" fmla="*/ 331 h 366"/>
              <a:gd name="T14" fmla="*/ 89 w 355"/>
              <a:gd name="T15" fmla="*/ 338 h 366"/>
              <a:gd name="T16" fmla="*/ 145 w 355"/>
              <a:gd name="T17" fmla="*/ 295 h 366"/>
              <a:gd name="T18" fmla="*/ 89 w 355"/>
              <a:gd name="T19" fmla="*/ 338 h 366"/>
              <a:gd name="T20" fmla="*/ 137 w 355"/>
              <a:gd name="T21" fmla="*/ 359 h 366"/>
              <a:gd name="T22" fmla="*/ 174 w 355"/>
              <a:gd name="T23" fmla="*/ 302 h 366"/>
              <a:gd name="T24" fmla="*/ 101 w 355"/>
              <a:gd name="T25" fmla="*/ 124 h 366"/>
              <a:gd name="T26" fmla="*/ 23 w 355"/>
              <a:gd name="T27" fmla="*/ 256 h 366"/>
              <a:gd name="T28" fmla="*/ 210 w 355"/>
              <a:gd name="T29" fmla="*/ 24 h 366"/>
              <a:gd name="T30" fmla="*/ 289 w 355"/>
              <a:gd name="T31" fmla="*/ 70 h 366"/>
              <a:gd name="T32" fmla="*/ 200 w 355"/>
              <a:gd name="T33" fmla="*/ 87 h 366"/>
              <a:gd name="T34" fmla="*/ 188 w 355"/>
              <a:gd name="T35" fmla="*/ 366 h 366"/>
              <a:gd name="T36" fmla="*/ 204 w 355"/>
              <a:gd name="T37" fmla="*/ 300 h 366"/>
              <a:gd name="T38" fmla="*/ 188 w 355"/>
              <a:gd name="T39" fmla="*/ 366 h 366"/>
              <a:gd name="T40" fmla="*/ 219 w 355"/>
              <a:gd name="T41" fmla="*/ 296 h 366"/>
              <a:gd name="T42" fmla="*/ 261 w 355"/>
              <a:gd name="T43" fmla="*/ 347 h 366"/>
              <a:gd name="T44" fmla="*/ 286 w 355"/>
              <a:gd name="T45" fmla="*/ 332 h 366"/>
              <a:gd name="T46" fmla="*/ 257 w 355"/>
              <a:gd name="T47" fmla="*/ 273 h 366"/>
              <a:gd name="T48" fmla="*/ 286 w 355"/>
              <a:gd name="T49" fmla="*/ 332 h 366"/>
              <a:gd name="T50" fmla="*/ 271 w 355"/>
              <a:gd name="T51" fmla="*/ 258 h 366"/>
              <a:gd name="T52" fmla="*/ 330 w 355"/>
              <a:gd name="T53" fmla="*/ 283 h 366"/>
              <a:gd name="T54" fmla="*/ 346 w 355"/>
              <a:gd name="T55" fmla="*/ 250 h 366"/>
              <a:gd name="T56" fmla="*/ 288 w 355"/>
              <a:gd name="T57" fmla="*/ 221 h 366"/>
              <a:gd name="T58" fmla="*/ 346 w 355"/>
              <a:gd name="T59" fmla="*/ 250 h 366"/>
              <a:gd name="T60" fmla="*/ 291 w 355"/>
              <a:gd name="T61" fmla="*/ 198 h 366"/>
              <a:gd name="T62" fmla="*/ 355 w 355"/>
              <a:gd name="T63" fmla="*/ 19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5" h="366">
                <a:moveTo>
                  <a:pt x="351" y="156"/>
                </a:moveTo>
                <a:cubicBezTo>
                  <a:pt x="289" y="170"/>
                  <a:pt x="289" y="170"/>
                  <a:pt x="289" y="170"/>
                </a:cubicBezTo>
                <a:cubicBezTo>
                  <a:pt x="288" y="167"/>
                  <a:pt x="288" y="167"/>
                  <a:pt x="288" y="167"/>
                </a:cubicBezTo>
                <a:cubicBezTo>
                  <a:pt x="350" y="152"/>
                  <a:pt x="350" y="152"/>
                  <a:pt x="350" y="152"/>
                </a:cubicBezTo>
                <a:lnTo>
                  <a:pt x="351" y="156"/>
                </a:lnTo>
                <a:close/>
                <a:moveTo>
                  <a:pt x="24" y="258"/>
                </a:moveTo>
                <a:cubicBezTo>
                  <a:pt x="83" y="234"/>
                  <a:pt x="83" y="234"/>
                  <a:pt x="83" y="234"/>
                </a:cubicBezTo>
                <a:cubicBezTo>
                  <a:pt x="87" y="243"/>
                  <a:pt x="91" y="252"/>
                  <a:pt x="97" y="259"/>
                </a:cubicBezTo>
                <a:cubicBezTo>
                  <a:pt x="46" y="297"/>
                  <a:pt x="46" y="297"/>
                  <a:pt x="46" y="297"/>
                </a:cubicBezTo>
                <a:cubicBezTo>
                  <a:pt x="37" y="286"/>
                  <a:pt x="30" y="272"/>
                  <a:pt x="24" y="258"/>
                </a:cubicBezTo>
                <a:close/>
                <a:moveTo>
                  <a:pt x="50" y="303"/>
                </a:moveTo>
                <a:cubicBezTo>
                  <a:pt x="100" y="263"/>
                  <a:pt x="100" y="263"/>
                  <a:pt x="100" y="263"/>
                </a:cubicBezTo>
                <a:cubicBezTo>
                  <a:pt x="105" y="269"/>
                  <a:pt x="111" y="275"/>
                  <a:pt x="118" y="280"/>
                </a:cubicBezTo>
                <a:cubicBezTo>
                  <a:pt x="80" y="331"/>
                  <a:pt x="80" y="331"/>
                  <a:pt x="80" y="331"/>
                </a:cubicBezTo>
                <a:cubicBezTo>
                  <a:pt x="69" y="323"/>
                  <a:pt x="59" y="313"/>
                  <a:pt x="50" y="303"/>
                </a:cubicBezTo>
                <a:close/>
                <a:moveTo>
                  <a:pt x="89" y="338"/>
                </a:moveTo>
                <a:cubicBezTo>
                  <a:pt x="124" y="284"/>
                  <a:pt x="124" y="284"/>
                  <a:pt x="124" y="284"/>
                </a:cubicBezTo>
                <a:cubicBezTo>
                  <a:pt x="131" y="289"/>
                  <a:pt x="137" y="292"/>
                  <a:pt x="145" y="295"/>
                </a:cubicBezTo>
                <a:cubicBezTo>
                  <a:pt x="122" y="354"/>
                  <a:pt x="122" y="354"/>
                  <a:pt x="122" y="354"/>
                </a:cubicBezTo>
                <a:cubicBezTo>
                  <a:pt x="110" y="350"/>
                  <a:pt x="99" y="344"/>
                  <a:pt x="89" y="338"/>
                </a:cubicBezTo>
                <a:close/>
                <a:moveTo>
                  <a:pt x="168" y="365"/>
                </a:moveTo>
                <a:cubicBezTo>
                  <a:pt x="157" y="364"/>
                  <a:pt x="147" y="362"/>
                  <a:pt x="137" y="359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60" y="300"/>
                  <a:pt x="167" y="301"/>
                  <a:pt x="174" y="302"/>
                </a:cubicBezTo>
                <a:lnTo>
                  <a:pt x="168" y="365"/>
                </a:lnTo>
                <a:close/>
                <a:moveTo>
                  <a:pt x="101" y="124"/>
                </a:moveTo>
                <a:cubicBezTo>
                  <a:pt x="76" y="153"/>
                  <a:pt x="68" y="197"/>
                  <a:pt x="82" y="233"/>
                </a:cubicBezTo>
                <a:cubicBezTo>
                  <a:pt x="23" y="256"/>
                  <a:pt x="23" y="256"/>
                  <a:pt x="23" y="256"/>
                </a:cubicBezTo>
                <a:cubicBezTo>
                  <a:pt x="0" y="198"/>
                  <a:pt x="12" y="129"/>
                  <a:pt x="52" y="82"/>
                </a:cubicBezTo>
                <a:cubicBezTo>
                  <a:pt x="90" y="37"/>
                  <a:pt x="152" y="15"/>
                  <a:pt x="210" y="24"/>
                </a:cubicBezTo>
                <a:cubicBezTo>
                  <a:pt x="214" y="0"/>
                  <a:pt x="214" y="0"/>
                  <a:pt x="214" y="0"/>
                </a:cubicBezTo>
                <a:cubicBezTo>
                  <a:pt x="289" y="70"/>
                  <a:pt x="289" y="70"/>
                  <a:pt x="289" y="70"/>
                </a:cubicBezTo>
                <a:cubicBezTo>
                  <a:pt x="195" y="112"/>
                  <a:pt x="195" y="112"/>
                  <a:pt x="195" y="112"/>
                </a:cubicBezTo>
                <a:cubicBezTo>
                  <a:pt x="200" y="87"/>
                  <a:pt x="200" y="87"/>
                  <a:pt x="200" y="87"/>
                </a:cubicBezTo>
                <a:cubicBezTo>
                  <a:pt x="163" y="81"/>
                  <a:pt x="125" y="95"/>
                  <a:pt x="101" y="124"/>
                </a:cubicBezTo>
                <a:close/>
                <a:moveTo>
                  <a:pt x="188" y="366"/>
                </a:moveTo>
                <a:cubicBezTo>
                  <a:pt x="187" y="302"/>
                  <a:pt x="187" y="302"/>
                  <a:pt x="187" y="302"/>
                </a:cubicBezTo>
                <a:cubicBezTo>
                  <a:pt x="192" y="302"/>
                  <a:pt x="198" y="301"/>
                  <a:pt x="204" y="300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07" y="364"/>
                  <a:pt x="198" y="366"/>
                  <a:pt x="188" y="366"/>
                </a:cubicBezTo>
                <a:close/>
                <a:moveTo>
                  <a:pt x="240" y="356"/>
                </a:moveTo>
                <a:cubicBezTo>
                  <a:pt x="219" y="296"/>
                  <a:pt x="219" y="296"/>
                  <a:pt x="219" y="296"/>
                </a:cubicBezTo>
                <a:cubicBezTo>
                  <a:pt x="223" y="295"/>
                  <a:pt x="228" y="293"/>
                  <a:pt x="232" y="290"/>
                </a:cubicBezTo>
                <a:cubicBezTo>
                  <a:pt x="261" y="347"/>
                  <a:pt x="261" y="347"/>
                  <a:pt x="261" y="347"/>
                </a:cubicBezTo>
                <a:cubicBezTo>
                  <a:pt x="254" y="351"/>
                  <a:pt x="247" y="354"/>
                  <a:pt x="240" y="356"/>
                </a:cubicBezTo>
                <a:close/>
                <a:moveTo>
                  <a:pt x="286" y="332"/>
                </a:moveTo>
                <a:cubicBezTo>
                  <a:pt x="248" y="281"/>
                  <a:pt x="248" y="281"/>
                  <a:pt x="248" y="281"/>
                </a:cubicBezTo>
                <a:cubicBezTo>
                  <a:pt x="251" y="279"/>
                  <a:pt x="254" y="276"/>
                  <a:pt x="257" y="273"/>
                </a:cubicBezTo>
                <a:cubicBezTo>
                  <a:pt x="300" y="320"/>
                  <a:pt x="300" y="320"/>
                  <a:pt x="300" y="320"/>
                </a:cubicBezTo>
                <a:cubicBezTo>
                  <a:pt x="295" y="324"/>
                  <a:pt x="291" y="329"/>
                  <a:pt x="286" y="332"/>
                </a:cubicBezTo>
                <a:close/>
                <a:moveTo>
                  <a:pt x="322" y="295"/>
                </a:moveTo>
                <a:cubicBezTo>
                  <a:pt x="271" y="258"/>
                  <a:pt x="271" y="258"/>
                  <a:pt x="271" y="258"/>
                </a:cubicBezTo>
                <a:cubicBezTo>
                  <a:pt x="273" y="255"/>
                  <a:pt x="274" y="253"/>
                  <a:pt x="276" y="250"/>
                </a:cubicBezTo>
                <a:cubicBezTo>
                  <a:pt x="330" y="283"/>
                  <a:pt x="330" y="283"/>
                  <a:pt x="330" y="283"/>
                </a:cubicBezTo>
                <a:cubicBezTo>
                  <a:pt x="328" y="287"/>
                  <a:pt x="325" y="292"/>
                  <a:pt x="322" y="295"/>
                </a:cubicBezTo>
                <a:close/>
                <a:moveTo>
                  <a:pt x="346" y="250"/>
                </a:moveTo>
                <a:cubicBezTo>
                  <a:pt x="326" y="243"/>
                  <a:pt x="306" y="237"/>
                  <a:pt x="285" y="230"/>
                </a:cubicBezTo>
                <a:cubicBezTo>
                  <a:pt x="287" y="227"/>
                  <a:pt x="287" y="224"/>
                  <a:pt x="288" y="221"/>
                </a:cubicBezTo>
                <a:cubicBezTo>
                  <a:pt x="349" y="239"/>
                  <a:pt x="349" y="239"/>
                  <a:pt x="349" y="239"/>
                </a:cubicBezTo>
                <a:cubicBezTo>
                  <a:pt x="348" y="243"/>
                  <a:pt x="348" y="246"/>
                  <a:pt x="346" y="250"/>
                </a:cubicBezTo>
                <a:close/>
                <a:moveTo>
                  <a:pt x="355" y="199"/>
                </a:moveTo>
                <a:cubicBezTo>
                  <a:pt x="334" y="199"/>
                  <a:pt x="313" y="198"/>
                  <a:pt x="291" y="198"/>
                </a:cubicBezTo>
                <a:cubicBezTo>
                  <a:pt x="292" y="193"/>
                  <a:pt x="292" y="193"/>
                  <a:pt x="292" y="193"/>
                </a:cubicBezTo>
                <a:cubicBezTo>
                  <a:pt x="313" y="193"/>
                  <a:pt x="334" y="192"/>
                  <a:pt x="355" y="193"/>
                </a:cubicBezTo>
                <a:lnTo>
                  <a:pt x="355" y="19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A1101E7-4CFB-4067-95AE-A90E24CC4F90}"/>
              </a:ext>
            </a:extLst>
          </p:cNvPr>
          <p:cNvSpPr txBox="1"/>
          <p:nvPr/>
        </p:nvSpPr>
        <p:spPr>
          <a:xfrm>
            <a:off x="8331614" y="1400427"/>
            <a:ext cx="4696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632179-26FB-4971-A2C6-F4D8CB16D629}"/>
              </a:ext>
            </a:extLst>
          </p:cNvPr>
          <p:cNvSpPr txBox="1">
            <a:spLocks/>
          </p:cNvSpPr>
          <p:nvPr/>
        </p:nvSpPr>
        <p:spPr>
          <a:xfrm>
            <a:off x="2402505" y="1400428"/>
            <a:ext cx="33068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itäte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2EB15B-BD09-4557-A289-13A0AEEA5006}"/>
              </a:ext>
            </a:extLst>
          </p:cNvPr>
          <p:cNvSpPr txBox="1">
            <a:spLocks/>
          </p:cNvSpPr>
          <p:nvPr/>
        </p:nvSpPr>
        <p:spPr>
          <a:xfrm>
            <a:off x="7410695" y="1369649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datum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76F849-805C-4547-B330-E74FE218EE7E}"/>
              </a:ext>
            </a:extLst>
          </p:cNvPr>
          <p:cNvSpPr txBox="1">
            <a:spLocks/>
          </p:cNvSpPr>
          <p:nvPr/>
        </p:nvSpPr>
        <p:spPr>
          <a:xfrm>
            <a:off x="487361" y="1400427"/>
            <a:ext cx="18327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C2AD198-6809-4D7F-8B56-987729A9CB61}"/>
              </a:ext>
            </a:extLst>
          </p:cNvPr>
          <p:cNvSpPr txBox="1">
            <a:spLocks/>
          </p:cNvSpPr>
          <p:nvPr/>
        </p:nvSpPr>
        <p:spPr>
          <a:xfrm>
            <a:off x="487361" y="1646945"/>
            <a:ext cx="1832757" cy="93316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hemen&gt;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4A29B45-7115-48DF-A04F-750F2BE33EE4}"/>
              </a:ext>
            </a:extLst>
          </p:cNvPr>
          <p:cNvSpPr txBox="1">
            <a:spLocks/>
          </p:cNvSpPr>
          <p:nvPr/>
        </p:nvSpPr>
        <p:spPr>
          <a:xfrm>
            <a:off x="5837225" y="1400024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antwortlichkei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9A30CD9-629B-4F4E-9858-83FAA0EBF124}"/>
              </a:ext>
            </a:extLst>
          </p:cNvPr>
          <p:cNvSpPr txBox="1">
            <a:spLocks/>
          </p:cNvSpPr>
          <p:nvPr/>
        </p:nvSpPr>
        <p:spPr>
          <a:xfrm>
            <a:off x="2402505" y="1646945"/>
            <a:ext cx="33068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ivitäten&gt;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C1B9837-2997-4A74-9DCC-62387019BD9E}"/>
              </a:ext>
            </a:extLst>
          </p:cNvPr>
          <p:cNvSpPr txBox="1">
            <a:spLocks/>
          </p:cNvSpPr>
          <p:nvPr/>
        </p:nvSpPr>
        <p:spPr>
          <a:xfrm>
            <a:off x="7410695" y="1646945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D7768FF-CE97-4431-8F8C-D59D10C0BB1D}"/>
              </a:ext>
            </a:extLst>
          </p:cNvPr>
          <p:cNvSpPr txBox="1">
            <a:spLocks/>
          </p:cNvSpPr>
          <p:nvPr/>
        </p:nvSpPr>
        <p:spPr>
          <a:xfrm>
            <a:off x="5837225" y="1646945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FA9FADD-6932-433C-A7A2-6EDD2D9C66EA}"/>
              </a:ext>
            </a:extLst>
          </p:cNvPr>
          <p:cNvSpPr txBox="1">
            <a:spLocks/>
          </p:cNvSpPr>
          <p:nvPr/>
        </p:nvSpPr>
        <p:spPr>
          <a:xfrm>
            <a:off x="2402505" y="2149224"/>
            <a:ext cx="33068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ivitäten&gt;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916793E-B6FA-4BDB-BFE8-11E5E7FBFD18}"/>
              </a:ext>
            </a:extLst>
          </p:cNvPr>
          <p:cNvSpPr txBox="1">
            <a:spLocks/>
          </p:cNvSpPr>
          <p:nvPr/>
        </p:nvSpPr>
        <p:spPr>
          <a:xfrm>
            <a:off x="7410695" y="2149224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67BE3FF-863F-4C4C-BE30-8A76F16F2F8D}"/>
              </a:ext>
            </a:extLst>
          </p:cNvPr>
          <p:cNvSpPr txBox="1">
            <a:spLocks/>
          </p:cNvSpPr>
          <p:nvPr/>
        </p:nvSpPr>
        <p:spPr>
          <a:xfrm>
            <a:off x="5837225" y="2149224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248B2A0-5ADB-4B59-88ED-3BE2ACF3B720}"/>
              </a:ext>
            </a:extLst>
          </p:cNvPr>
          <p:cNvSpPr txBox="1">
            <a:spLocks/>
          </p:cNvSpPr>
          <p:nvPr/>
        </p:nvSpPr>
        <p:spPr>
          <a:xfrm>
            <a:off x="2402505" y="2651503"/>
            <a:ext cx="33068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ivitäten&gt;</a:t>
            </a:r>
          </a:p>
          <a:p>
            <a:endParaRPr lang="de-DE" sz="1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3DBC6D-7EEA-4358-8704-F5AE3287EF9C}"/>
              </a:ext>
            </a:extLst>
          </p:cNvPr>
          <p:cNvSpPr txBox="1">
            <a:spLocks/>
          </p:cNvSpPr>
          <p:nvPr/>
        </p:nvSpPr>
        <p:spPr>
          <a:xfrm>
            <a:off x="7410695" y="2651503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CC6CF60-7E92-42D4-AD01-805B0D74A276}"/>
              </a:ext>
            </a:extLst>
          </p:cNvPr>
          <p:cNvSpPr txBox="1">
            <a:spLocks/>
          </p:cNvSpPr>
          <p:nvPr/>
        </p:nvSpPr>
        <p:spPr>
          <a:xfrm>
            <a:off x="487361" y="2651503"/>
            <a:ext cx="1832757" cy="57631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hemen&gt;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C2F49A5-21C4-426D-B29A-D56D718A5F15}"/>
              </a:ext>
            </a:extLst>
          </p:cNvPr>
          <p:cNvSpPr txBox="1">
            <a:spLocks/>
          </p:cNvSpPr>
          <p:nvPr/>
        </p:nvSpPr>
        <p:spPr>
          <a:xfrm>
            <a:off x="5837225" y="2651503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8FEC71-B96D-4D71-B2E8-FD38EDBA0911}"/>
              </a:ext>
            </a:extLst>
          </p:cNvPr>
          <p:cNvSpPr txBox="1">
            <a:spLocks/>
          </p:cNvSpPr>
          <p:nvPr/>
        </p:nvSpPr>
        <p:spPr>
          <a:xfrm>
            <a:off x="2402505" y="3299207"/>
            <a:ext cx="33068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ivitäten&gt;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A35017A-BA9A-4C54-8617-0B0A9A6CEA6D}"/>
              </a:ext>
            </a:extLst>
          </p:cNvPr>
          <p:cNvSpPr txBox="1">
            <a:spLocks/>
          </p:cNvSpPr>
          <p:nvPr/>
        </p:nvSpPr>
        <p:spPr>
          <a:xfrm>
            <a:off x="7410695" y="3299207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6E66B5F-3EAB-467E-8AC5-017335AD23D7}"/>
              </a:ext>
            </a:extLst>
          </p:cNvPr>
          <p:cNvSpPr txBox="1">
            <a:spLocks/>
          </p:cNvSpPr>
          <p:nvPr/>
        </p:nvSpPr>
        <p:spPr>
          <a:xfrm>
            <a:off x="487361" y="3299207"/>
            <a:ext cx="1832757" cy="57631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hemen&gt;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59F58C0-EBFA-4CFE-83EA-4C8A6D9BD9E9}"/>
              </a:ext>
            </a:extLst>
          </p:cNvPr>
          <p:cNvSpPr txBox="1">
            <a:spLocks/>
          </p:cNvSpPr>
          <p:nvPr/>
        </p:nvSpPr>
        <p:spPr>
          <a:xfrm>
            <a:off x="5837225" y="3299207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5F3FE7-20FC-4D53-BAA7-305689720F7F}"/>
              </a:ext>
            </a:extLst>
          </p:cNvPr>
          <p:cNvSpPr txBox="1">
            <a:spLocks/>
          </p:cNvSpPr>
          <p:nvPr/>
        </p:nvSpPr>
        <p:spPr>
          <a:xfrm>
            <a:off x="2402505" y="3946911"/>
            <a:ext cx="330683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ivitäten&gt;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32CC92-CA4E-46C6-AC6F-8BF2E4D0510C}"/>
              </a:ext>
            </a:extLst>
          </p:cNvPr>
          <p:cNvSpPr txBox="1">
            <a:spLocks/>
          </p:cNvSpPr>
          <p:nvPr/>
        </p:nvSpPr>
        <p:spPr>
          <a:xfrm>
            <a:off x="7410695" y="3946911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3A4344E-0478-4EB6-ADCC-913895F86992}"/>
              </a:ext>
            </a:extLst>
          </p:cNvPr>
          <p:cNvSpPr txBox="1">
            <a:spLocks/>
          </p:cNvSpPr>
          <p:nvPr/>
        </p:nvSpPr>
        <p:spPr>
          <a:xfrm>
            <a:off x="487361" y="3946911"/>
            <a:ext cx="1832757" cy="646331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hemen&gt;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27446A7-7698-4EB0-851E-6B1F1D39780B}"/>
              </a:ext>
            </a:extLst>
          </p:cNvPr>
          <p:cNvSpPr txBox="1">
            <a:spLocks/>
          </p:cNvSpPr>
          <p:nvPr/>
        </p:nvSpPr>
        <p:spPr>
          <a:xfrm>
            <a:off x="5837225" y="3946911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0327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919D9B-F049-48C1-B08A-081571DAAE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56" y="162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919D9B-F049-48C1-B08A-081571DAA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56" y="162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DC38FD-E0EB-41E6-BCB7-0991BA1261D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9" y="112868"/>
            <a:ext cx="9143865" cy="5030594"/>
            <a:chOff x="1" y="112833"/>
            <a:chExt cx="9144000" cy="503066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DA21D6B-24FD-4FE9-8909-7ED1D96E09C1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802" b="8802"/>
            <a:stretch/>
          </p:blipFill>
          <p:spPr bwMode="gray">
            <a:xfrm flipH="1">
              <a:off x="1" y="112833"/>
              <a:ext cx="9144000" cy="5030668"/>
            </a:xfrm>
            <a:prstGeom prst="rect">
              <a:avLst/>
            </a:prstGeom>
          </p:spPr>
        </p:pic>
        <p:sp>
          <p:nvSpPr>
            <p:cNvPr id="12" name="Rectangle 11"/>
            <p:cNvSpPr>
              <a:spLocks/>
            </p:cNvSpPr>
            <p:nvPr/>
          </p:nvSpPr>
          <p:spPr>
            <a:xfrm>
              <a:off x="1" y="112833"/>
              <a:ext cx="1379381" cy="503066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0B66A34-5B02-4D10-884A-78566FB876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62" y="285784"/>
            <a:ext cx="8328552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orlage Steuerungskrei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E2F136E-DE78-4646-AEDE-3655EC29D2B8}"/>
              </a:ext>
            </a:extLst>
          </p:cNvPr>
          <p:cNvSpPr/>
          <p:nvPr/>
        </p:nvSpPr>
        <p:spPr>
          <a:xfrm>
            <a:off x="68" y="2020539"/>
            <a:ext cx="9143865" cy="153380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führung in die Unterlage "Vorlage Steuerungskreis"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3293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5634726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Steuerungskreis am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XX.XX.</a:t>
            </a:r>
          </a:p>
        </p:txBody>
      </p:sp>
      <p:sp>
        <p:nvSpPr>
          <p:cNvPr id="76" name="RectangleLegend1">
            <a:extLst>
              <a:ext uri="{FF2B5EF4-FFF2-40B4-BE49-F238E27FC236}">
                <a16:creationId xmlns:a16="http://schemas.microsoft.com/office/drawing/2014/main" id="{8F7F1537-9286-4880-9C67-90CE9AF62E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9310" y="2518892"/>
            <a:ext cx="5564657" cy="484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35DFC310-E577-4A66-AFDA-1FBF8D339E50}"/>
              </a:ext>
            </a:extLst>
          </p:cNvPr>
          <p:cNvCxnSpPr>
            <a:cxnSpLocks/>
          </p:cNvCxnSpPr>
          <p:nvPr/>
        </p:nvCxnSpPr>
        <p:spPr bwMode="gray">
          <a:xfrm>
            <a:off x="1869310" y="4457373"/>
            <a:ext cx="5564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F7CD20CE-2685-46C2-A7F9-A9FCC7DD2F58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034273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FD1FF3B-34FF-4575-9D0A-154927EC59EA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518892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15907FD-7175-4B9F-8D02-00E5EEF4E1FA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003511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F5EA5FD9-DEB3-4289-98D9-45B1AA1C33ED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488130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96C3143F-6556-422F-912C-8E35CED11137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972749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>
            <a:extLst>
              <a:ext uri="{FF2B5EF4-FFF2-40B4-BE49-F238E27FC236}">
                <a16:creationId xmlns:a16="http://schemas.microsoft.com/office/drawing/2014/main" id="{29192789-D1F8-4306-98EE-F3D4B7677886}"/>
              </a:ext>
            </a:extLst>
          </p:cNvPr>
          <p:cNvSpPr txBox="1">
            <a:spLocks/>
          </p:cNvSpPr>
          <p:nvPr/>
        </p:nvSpPr>
        <p:spPr>
          <a:xfrm>
            <a:off x="6147747" y="1173397"/>
            <a:ext cx="128622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1891362-5646-49C1-AC6D-9FF811227A44}"/>
              </a:ext>
            </a:extLst>
          </p:cNvPr>
          <p:cNvSpPr txBox="1">
            <a:spLocks/>
          </p:cNvSpPr>
          <p:nvPr/>
        </p:nvSpPr>
        <p:spPr>
          <a:xfrm>
            <a:off x="1869310" y="1173397"/>
            <a:ext cx="4101617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834559D8-85C4-4DC4-BAC5-8F7AA0063611}"/>
              </a:ext>
            </a:extLst>
          </p:cNvPr>
          <p:cNvSpPr txBox="1">
            <a:spLocks/>
          </p:cNvSpPr>
          <p:nvPr/>
        </p:nvSpPr>
        <p:spPr>
          <a:xfrm>
            <a:off x="6147747" y="1684241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6A157334-0767-44D0-8829-0C29761B9E16}"/>
              </a:ext>
            </a:extLst>
          </p:cNvPr>
          <p:cNvSpPr txBox="1">
            <a:spLocks/>
          </p:cNvSpPr>
          <p:nvPr/>
        </p:nvSpPr>
        <p:spPr>
          <a:xfrm>
            <a:off x="1869310" y="1684241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Zielsetzung des Steuerungskreises&gt;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239E6978-592B-487D-9083-77DA2892F7E7}"/>
              </a:ext>
            </a:extLst>
          </p:cNvPr>
          <p:cNvSpPr txBox="1">
            <a:spLocks/>
          </p:cNvSpPr>
          <p:nvPr/>
        </p:nvSpPr>
        <p:spPr>
          <a:xfrm>
            <a:off x="6147747" y="3138098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DA3045BD-104C-42E3-A7BA-D1BFC7A29153}"/>
              </a:ext>
            </a:extLst>
          </p:cNvPr>
          <p:cNvSpPr txBox="1">
            <a:spLocks/>
          </p:cNvSpPr>
          <p:nvPr/>
        </p:nvSpPr>
        <p:spPr>
          <a:xfrm>
            <a:off x="6147747" y="2168860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0BD1BE2F-8F12-4B1E-AB6B-2A37A771D50D}"/>
              </a:ext>
            </a:extLst>
          </p:cNvPr>
          <p:cNvSpPr txBox="1">
            <a:spLocks/>
          </p:cNvSpPr>
          <p:nvPr/>
        </p:nvSpPr>
        <p:spPr>
          <a:xfrm>
            <a:off x="1869310" y="2168860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uellen Projektaktivitäten&gt;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722F58E-2EA7-4553-B09F-857236F305DB}"/>
              </a:ext>
            </a:extLst>
          </p:cNvPr>
          <p:cNvSpPr txBox="1">
            <a:spLocks/>
          </p:cNvSpPr>
          <p:nvPr/>
        </p:nvSpPr>
        <p:spPr>
          <a:xfrm>
            <a:off x="6147747" y="4107336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E1566799-67D1-423F-8502-7EE0A5731744}"/>
              </a:ext>
            </a:extLst>
          </p:cNvPr>
          <p:cNvSpPr txBox="1">
            <a:spLocks/>
          </p:cNvSpPr>
          <p:nvPr/>
        </p:nvSpPr>
        <p:spPr>
          <a:xfrm>
            <a:off x="1869310" y="4107336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Festlegung der nächsten Schritte&gt;</a:t>
            </a: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6B8A3BF-39E1-4ED0-A3A9-D24A59AE9FBA}"/>
              </a:ext>
            </a:extLst>
          </p:cNvPr>
          <p:cNvSpPr txBox="1">
            <a:spLocks/>
          </p:cNvSpPr>
          <p:nvPr/>
        </p:nvSpPr>
        <p:spPr>
          <a:xfrm>
            <a:off x="6147747" y="2653479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4ECABD39-96FA-4FEE-88D3-64A1E933212A}"/>
              </a:ext>
            </a:extLst>
          </p:cNvPr>
          <p:cNvSpPr txBox="1">
            <a:spLocks/>
          </p:cNvSpPr>
          <p:nvPr/>
        </p:nvSpPr>
        <p:spPr>
          <a:xfrm>
            <a:off x="1869310" y="2653479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Darstellung der inhaltlichen Umsetzung&gt;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E22BDA39-B33D-4F26-AF2C-6175FA682FDB}"/>
              </a:ext>
            </a:extLst>
          </p:cNvPr>
          <p:cNvSpPr txBox="1">
            <a:spLocks/>
          </p:cNvSpPr>
          <p:nvPr/>
        </p:nvSpPr>
        <p:spPr>
          <a:xfrm>
            <a:off x="6147747" y="3622717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3C2A35BF-A790-48F8-82A7-11A238A12F71}"/>
              </a:ext>
            </a:extLst>
          </p:cNvPr>
          <p:cNvSpPr txBox="1">
            <a:spLocks/>
          </p:cNvSpPr>
          <p:nvPr/>
        </p:nvSpPr>
        <p:spPr>
          <a:xfrm>
            <a:off x="1869310" y="3622717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dressierung von Unterstützungsbedarfen&gt;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712EE1C-4AB2-4441-999C-FD3F523C4A9A}"/>
              </a:ext>
            </a:extLst>
          </p:cNvPr>
          <p:cNvGrpSpPr/>
          <p:nvPr/>
        </p:nvGrpSpPr>
        <p:grpSpPr>
          <a:xfrm>
            <a:off x="5667437" y="1223502"/>
            <a:ext cx="246340" cy="260658"/>
            <a:chOff x="5451867" y="1215807"/>
            <a:chExt cx="246340" cy="260658"/>
          </a:xfrm>
        </p:grpSpPr>
        <p:sp>
          <p:nvSpPr>
            <p:cNvPr id="98" name="Freeform 73">
              <a:extLst>
                <a:ext uri="{FF2B5EF4-FFF2-40B4-BE49-F238E27FC236}">
                  <a16:creationId xmlns:a16="http://schemas.microsoft.com/office/drawing/2014/main" id="{AEB2183B-7D6E-4F51-8A41-B0E02FAB54DA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1867" y="1215807"/>
              <a:ext cx="227063" cy="260459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Freeform 24">
              <a:extLst>
                <a:ext uri="{FF2B5EF4-FFF2-40B4-BE49-F238E27FC236}">
                  <a16:creationId xmlns:a16="http://schemas.microsoft.com/office/drawing/2014/main" id="{4D1921F6-4E79-4551-BA14-68946AB53CA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6139" y="1294115"/>
              <a:ext cx="182068" cy="182350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0" name="Freeform 71">
            <a:extLst>
              <a:ext uri="{FF2B5EF4-FFF2-40B4-BE49-F238E27FC236}">
                <a16:creationId xmlns:a16="http://schemas.microsoft.com/office/drawing/2014/main" id="{8E62894D-50FD-4594-9D1B-E20559B65948}"/>
              </a:ext>
            </a:extLst>
          </p:cNvPr>
          <p:cNvSpPr>
            <a:spLocks noChangeAspect="1"/>
          </p:cNvSpPr>
          <p:nvPr/>
        </p:nvSpPr>
        <p:spPr bwMode="gray">
          <a:xfrm>
            <a:off x="7116190" y="1223681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6F15EF-90D7-4CE6-8A31-0E2142FF3691}"/>
              </a:ext>
            </a:extLst>
          </p:cNvPr>
          <p:cNvSpPr txBox="1">
            <a:spLocks/>
          </p:cNvSpPr>
          <p:nvPr/>
        </p:nvSpPr>
        <p:spPr>
          <a:xfrm>
            <a:off x="1869310" y="3123992"/>
            <a:ext cx="440783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bstimmung Themen mit Entscheidungsbedarf&gt;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80353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525F8A-53F2-489A-8F44-02597E18DE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6170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93" imgH="493" progId="TCLayout.ActiveDocument.1">
                  <p:embed/>
                </p:oleObj>
              </mc:Choice>
              <mc:Fallback>
                <p:oleObj name="think-cell Slide" r:id="rId11" imgW="493" imgH="49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525F8A-53F2-489A-8F44-02597E18DE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C3DF86-5F8E-4FBB-8AE3-6984FCB835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de-DE" sz="2400" u="none" strike="noStrike" kern="1200" cap="none" spc="0" normalizeH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40D2E1BE-5C1A-46F5-BA92-9B91AFC58919}"/>
              </a:ext>
            </a:extLst>
          </p:cNvPr>
          <p:cNvCxnSpPr>
            <a:cxnSpLocks/>
          </p:cNvCxnSpPr>
          <p:nvPr/>
        </p:nvCxnSpPr>
        <p:spPr bwMode="gray">
          <a:xfrm>
            <a:off x="3649976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FD054591-33EA-44E5-B836-DB8103560836}"/>
              </a:ext>
            </a:extLst>
          </p:cNvPr>
          <p:cNvCxnSpPr>
            <a:cxnSpLocks/>
          </p:cNvCxnSpPr>
          <p:nvPr/>
        </p:nvCxnSpPr>
        <p:spPr bwMode="gray">
          <a:xfrm>
            <a:off x="3095708" y="1101062"/>
            <a:ext cx="0" cy="3363615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A5A0B5FD-886D-4EB7-A333-66B912CBB70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arstellung der inhaltlichen Umsetzung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8D0130F-F776-44E6-BF87-EFB4F509ADE3}"/>
              </a:ext>
            </a:extLst>
          </p:cNvPr>
          <p:cNvSpPr/>
          <p:nvPr/>
        </p:nvSpPr>
        <p:spPr>
          <a:xfrm>
            <a:off x="487362" y="1101062"/>
            <a:ext cx="1469700" cy="33636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029E0264-F59F-4BA0-87AA-F3816914CF90}"/>
              </a:ext>
            </a:extLst>
          </p:cNvPr>
          <p:cNvSpPr txBox="1">
            <a:spLocks/>
          </p:cNvSpPr>
          <p:nvPr/>
        </p:nvSpPr>
        <p:spPr bwMode="gray">
          <a:xfrm>
            <a:off x="487363" y="939485"/>
            <a:ext cx="432557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 der Umsetzung inkl. Meilenstei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72A2001-145F-4912-A8C3-30357A43DA07}"/>
              </a:ext>
            </a:extLst>
          </p:cNvPr>
          <p:cNvSpPr txBox="1">
            <a:spLocks/>
          </p:cNvSpPr>
          <p:nvPr/>
        </p:nvSpPr>
        <p:spPr bwMode="gray">
          <a:xfrm>
            <a:off x="546101" y="1325586"/>
            <a:ext cx="13144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i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hemen&gt;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ADEFDD2-1FD8-4664-AA12-4594944AEBDE}"/>
              </a:ext>
            </a:extLst>
          </p:cNvPr>
          <p:cNvSpPr txBox="1">
            <a:spLocks/>
          </p:cNvSpPr>
          <p:nvPr/>
        </p:nvSpPr>
        <p:spPr bwMode="gray">
          <a:xfrm>
            <a:off x="546101" y="2633213"/>
            <a:ext cx="13144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i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hemen&gt;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E3138F2-056B-4A9C-8CF0-351702C6ACAA}"/>
              </a:ext>
            </a:extLst>
          </p:cNvPr>
          <p:cNvSpPr txBox="1">
            <a:spLocks/>
          </p:cNvSpPr>
          <p:nvPr/>
        </p:nvSpPr>
        <p:spPr bwMode="gray">
          <a:xfrm>
            <a:off x="546101" y="3980632"/>
            <a:ext cx="13144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671496" eaLnBrk="1" hangingPunct="1">
              <a:buClr>
                <a:schemeClr val="tx2"/>
              </a:buClr>
              <a:defRPr sz="1200" b="1" baseline="0">
                <a:solidFill>
                  <a:schemeClr val="accent4"/>
                </a:solidFill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Steuerung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ABBEDC18-32F5-4608-9CD8-AACC0A525229}"/>
              </a:ext>
            </a:extLst>
          </p:cNvPr>
          <p:cNvSpPr txBox="1">
            <a:spLocks/>
          </p:cNvSpPr>
          <p:nvPr/>
        </p:nvSpPr>
        <p:spPr bwMode="gray">
          <a:xfrm>
            <a:off x="546101" y="2019209"/>
            <a:ext cx="13144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i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hemen&gt;</a:t>
            </a:r>
          </a:p>
        </p:txBody>
      </p: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E97ECF64-BBB5-42E0-9B1A-A770888BAB41}"/>
              </a:ext>
            </a:extLst>
          </p:cNvPr>
          <p:cNvCxnSpPr>
            <a:cxnSpLocks/>
          </p:cNvCxnSpPr>
          <p:nvPr/>
        </p:nvCxnSpPr>
        <p:spPr bwMode="gray">
          <a:xfrm>
            <a:off x="487362" y="1101063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4E81D05-9429-44E6-8F27-8FDFCC300EFD}"/>
              </a:ext>
            </a:extLst>
          </p:cNvPr>
          <p:cNvCxnSpPr>
            <a:cxnSpLocks/>
          </p:cNvCxnSpPr>
          <p:nvPr/>
        </p:nvCxnSpPr>
        <p:spPr bwMode="gray">
          <a:xfrm>
            <a:off x="487362" y="1758066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A89BE296-5457-43DA-B126-609893BFBAE0}"/>
              </a:ext>
            </a:extLst>
          </p:cNvPr>
          <p:cNvCxnSpPr>
            <a:cxnSpLocks/>
          </p:cNvCxnSpPr>
          <p:nvPr/>
        </p:nvCxnSpPr>
        <p:spPr bwMode="gray">
          <a:xfrm>
            <a:off x="487362" y="3729073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D8D9AB9-D425-449B-A744-FC4244E616B2}"/>
              </a:ext>
            </a:extLst>
          </p:cNvPr>
          <p:cNvCxnSpPr>
            <a:cxnSpLocks/>
          </p:cNvCxnSpPr>
          <p:nvPr/>
        </p:nvCxnSpPr>
        <p:spPr bwMode="gray">
          <a:xfrm>
            <a:off x="487362" y="2415069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0B44B791-9747-47F4-B204-6F6895FD0AD5}"/>
              </a:ext>
            </a:extLst>
          </p:cNvPr>
          <p:cNvCxnSpPr>
            <a:cxnSpLocks/>
          </p:cNvCxnSpPr>
          <p:nvPr/>
        </p:nvCxnSpPr>
        <p:spPr bwMode="gray">
          <a:xfrm>
            <a:off x="490638" y="4464678"/>
            <a:ext cx="4500000" cy="0"/>
          </a:xfrm>
          <a:prstGeom prst="straightConnector1">
            <a:avLst/>
          </a:prstGeom>
          <a:ln w="28575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4E38DE45-B62E-40CB-A2DD-3D1EB5C29863}"/>
              </a:ext>
            </a:extLst>
          </p:cNvPr>
          <p:cNvCxnSpPr>
            <a:cxnSpLocks/>
          </p:cNvCxnSpPr>
          <p:nvPr/>
        </p:nvCxnSpPr>
        <p:spPr bwMode="gray">
          <a:xfrm>
            <a:off x="487362" y="3072070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494F030A-293F-4F9B-B06E-7CE2374069A3}"/>
              </a:ext>
            </a:extLst>
          </p:cNvPr>
          <p:cNvSpPr txBox="1">
            <a:spLocks/>
          </p:cNvSpPr>
          <p:nvPr/>
        </p:nvSpPr>
        <p:spPr bwMode="gray">
          <a:xfrm>
            <a:off x="1958490" y="4495457"/>
            <a:ext cx="40995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079733-5832-4324-9EF6-ADD12A0D2DE2}"/>
              </a:ext>
            </a:extLst>
          </p:cNvPr>
          <p:cNvSpPr txBox="1">
            <a:spLocks/>
          </p:cNvSpPr>
          <p:nvPr/>
        </p:nvSpPr>
        <p:spPr bwMode="gray">
          <a:xfrm>
            <a:off x="3311677" y="4495456"/>
            <a:ext cx="53329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0FA44B47-3514-4889-81F8-277E4D6158F1}"/>
              </a:ext>
            </a:extLst>
          </p:cNvPr>
          <p:cNvSpPr txBox="1">
            <a:spLocks/>
          </p:cNvSpPr>
          <p:nvPr/>
        </p:nvSpPr>
        <p:spPr bwMode="gray">
          <a:xfrm>
            <a:off x="3988271" y="4507007"/>
            <a:ext cx="67659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E4FB4CAA-6272-47D0-AC8B-9596AF794111}"/>
              </a:ext>
            </a:extLst>
          </p:cNvPr>
          <p:cNvCxnSpPr>
            <a:cxnSpLocks/>
          </p:cNvCxnSpPr>
          <p:nvPr/>
        </p:nvCxnSpPr>
        <p:spPr bwMode="gray">
          <a:xfrm>
            <a:off x="1958491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4D1412FD-5592-4FAD-BA99-699D2A10FB35}"/>
              </a:ext>
            </a:extLst>
          </p:cNvPr>
          <p:cNvCxnSpPr>
            <a:cxnSpLocks/>
          </p:cNvCxnSpPr>
          <p:nvPr/>
        </p:nvCxnSpPr>
        <p:spPr bwMode="gray">
          <a:xfrm>
            <a:off x="2296788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CF78B1C-F251-4ABC-92FD-CB8FD87029F2}"/>
              </a:ext>
            </a:extLst>
          </p:cNvPr>
          <p:cNvCxnSpPr>
            <a:cxnSpLocks/>
          </p:cNvCxnSpPr>
          <p:nvPr/>
        </p:nvCxnSpPr>
        <p:spPr bwMode="gray">
          <a:xfrm>
            <a:off x="2635085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B29EB3C-E913-4D54-9E82-4EE8CDC00C70}"/>
              </a:ext>
            </a:extLst>
          </p:cNvPr>
          <p:cNvCxnSpPr>
            <a:cxnSpLocks/>
          </p:cNvCxnSpPr>
          <p:nvPr/>
        </p:nvCxnSpPr>
        <p:spPr bwMode="gray">
          <a:xfrm>
            <a:off x="2973382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E962D89B-4989-4A8D-82AB-0F6D299A9BF8}"/>
              </a:ext>
            </a:extLst>
          </p:cNvPr>
          <p:cNvCxnSpPr>
            <a:cxnSpLocks/>
          </p:cNvCxnSpPr>
          <p:nvPr/>
        </p:nvCxnSpPr>
        <p:spPr bwMode="gray">
          <a:xfrm>
            <a:off x="3311679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96B4874-958E-4C48-BD01-5ABFBA0839D0}"/>
              </a:ext>
            </a:extLst>
          </p:cNvPr>
          <p:cNvCxnSpPr>
            <a:cxnSpLocks/>
          </p:cNvCxnSpPr>
          <p:nvPr/>
        </p:nvCxnSpPr>
        <p:spPr bwMode="gray">
          <a:xfrm>
            <a:off x="3988273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64CDA546-93E5-4C40-868F-76EEA4AEA2F9}"/>
              </a:ext>
            </a:extLst>
          </p:cNvPr>
          <p:cNvCxnSpPr>
            <a:cxnSpLocks/>
          </p:cNvCxnSpPr>
          <p:nvPr/>
        </p:nvCxnSpPr>
        <p:spPr bwMode="gray">
          <a:xfrm>
            <a:off x="4326570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10BF59AE-EC64-4A83-969A-9D70308DAEB0}"/>
              </a:ext>
            </a:extLst>
          </p:cNvPr>
          <p:cNvCxnSpPr>
            <a:cxnSpLocks/>
          </p:cNvCxnSpPr>
          <p:nvPr/>
        </p:nvCxnSpPr>
        <p:spPr bwMode="gray">
          <a:xfrm>
            <a:off x="4727419" y="1101062"/>
            <a:ext cx="0" cy="336361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reeform 85">
            <a:extLst>
              <a:ext uri="{FF2B5EF4-FFF2-40B4-BE49-F238E27FC236}">
                <a16:creationId xmlns:a16="http://schemas.microsoft.com/office/drawing/2014/main" id="{3224B3FA-5998-49F0-A08F-C66BE15F389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962385" y="2675994"/>
            <a:ext cx="2026820" cy="135152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436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436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34436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4365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7677 w 1828800"/>
              <a:gd name="connsiteY1" fmla="*/ 0 h 914400"/>
              <a:gd name="connsiteX2" fmla="*/ 1828800 w 1828800"/>
              <a:gd name="connsiteY2" fmla="*/ 457200 h 914400"/>
              <a:gd name="connsiteX3" fmla="*/ 1794365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7677 w 1828800"/>
              <a:gd name="connsiteY1" fmla="*/ 0 h 914400"/>
              <a:gd name="connsiteX2" fmla="*/ 1828800 w 1828800"/>
              <a:gd name="connsiteY2" fmla="*/ 457200 h 914400"/>
              <a:gd name="connsiteX3" fmla="*/ 180767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7677 w 1828800"/>
              <a:gd name="connsiteY1" fmla="*/ 0 h 914400"/>
              <a:gd name="connsiteX2" fmla="*/ 1828800 w 1828800"/>
              <a:gd name="connsiteY2" fmla="*/ 457200 h 914400"/>
              <a:gd name="connsiteX3" fmla="*/ 1807677 w 1828800"/>
              <a:gd name="connsiteY3" fmla="*/ 914400 h 914400"/>
              <a:gd name="connsiteX4" fmla="*/ 0 w 1828800"/>
              <a:gd name="connsiteY4" fmla="*/ 914400 h 914400"/>
              <a:gd name="connsiteX5" fmla="*/ 18991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7677 w 1828800"/>
              <a:gd name="connsiteY3" fmla="*/ 914400 h 914400"/>
              <a:gd name="connsiteX4" fmla="*/ 0 w 1828800"/>
              <a:gd name="connsiteY4" fmla="*/ 914400 h 914400"/>
              <a:gd name="connsiteX5" fmla="*/ 18991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9808 w 1828800"/>
              <a:gd name="connsiteY3" fmla="*/ 914400 h 914400"/>
              <a:gd name="connsiteX4" fmla="*/ 0 w 1828800"/>
              <a:gd name="connsiteY4" fmla="*/ 914400 h 914400"/>
              <a:gd name="connsiteX5" fmla="*/ 18991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98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98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09808 w 1828800"/>
              <a:gd name="connsiteY1" fmla="*/ 0 h 914400"/>
              <a:gd name="connsiteX2" fmla="*/ 1828800 w 1828800"/>
              <a:gd name="connsiteY2" fmla="*/ 457200 h 914400"/>
              <a:gd name="connsiteX3" fmla="*/ 18098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09808" y="0"/>
                </a:lnTo>
                <a:lnTo>
                  <a:pt x="1828800" y="457200"/>
                </a:lnTo>
                <a:lnTo>
                  <a:pt x="1809808" y="914400"/>
                </a:lnTo>
                <a:lnTo>
                  <a:pt x="0" y="914400"/>
                </a:lnTo>
                <a:lnTo>
                  <a:pt x="0" y="457204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3" name="Freeform 85">
            <a:extLst>
              <a:ext uri="{FF2B5EF4-FFF2-40B4-BE49-F238E27FC236}">
                <a16:creationId xmlns:a16="http://schemas.microsoft.com/office/drawing/2014/main" id="{4A7310B6-D307-4B54-A5CF-F21FFCA4233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965596" y="3302754"/>
            <a:ext cx="1550417" cy="131655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5832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5832 w 1828800"/>
              <a:gd name="connsiteY1" fmla="*/ 0 h 914400"/>
              <a:gd name="connsiteX2" fmla="*/ 1828800 w 1828800"/>
              <a:gd name="connsiteY2" fmla="*/ 457200 h 914400"/>
              <a:gd name="connsiteX3" fmla="*/ 17958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5832 w 1828800"/>
              <a:gd name="connsiteY1" fmla="*/ 0 h 914400"/>
              <a:gd name="connsiteX2" fmla="*/ 1828800 w 1828800"/>
              <a:gd name="connsiteY2" fmla="*/ 457200 h 914400"/>
              <a:gd name="connsiteX3" fmla="*/ 17958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4670 w 1828800"/>
              <a:gd name="connsiteY1" fmla="*/ 0 h 914400"/>
              <a:gd name="connsiteX2" fmla="*/ 1828800 w 1828800"/>
              <a:gd name="connsiteY2" fmla="*/ 457200 h 914400"/>
              <a:gd name="connsiteX3" fmla="*/ 17958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4670 w 1828800"/>
              <a:gd name="connsiteY1" fmla="*/ 0 h 914400"/>
              <a:gd name="connsiteX2" fmla="*/ 1828800 w 1828800"/>
              <a:gd name="connsiteY2" fmla="*/ 457200 h 914400"/>
              <a:gd name="connsiteX3" fmla="*/ 180467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4670 w 1828800"/>
              <a:gd name="connsiteY1" fmla="*/ 0 h 914400"/>
              <a:gd name="connsiteX2" fmla="*/ 1828800 w 1828800"/>
              <a:gd name="connsiteY2" fmla="*/ 457200 h 914400"/>
              <a:gd name="connsiteX3" fmla="*/ 1804670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4670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21603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197 w 1828800"/>
              <a:gd name="connsiteY1" fmla="*/ 0 h 914400"/>
              <a:gd name="connsiteX2" fmla="*/ 1828800 w 1828800"/>
              <a:gd name="connsiteY2" fmla="*/ 457200 h 914400"/>
              <a:gd name="connsiteX3" fmla="*/ 18071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07197" y="0"/>
                </a:lnTo>
                <a:lnTo>
                  <a:pt x="1828800" y="457200"/>
                </a:lnTo>
                <a:lnTo>
                  <a:pt x="1807197" y="914400"/>
                </a:lnTo>
                <a:lnTo>
                  <a:pt x="0" y="914400"/>
                </a:lnTo>
                <a:lnTo>
                  <a:pt x="0" y="457200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7" name="Freeform 85">
            <a:extLst>
              <a:ext uri="{FF2B5EF4-FFF2-40B4-BE49-F238E27FC236}">
                <a16:creationId xmlns:a16="http://schemas.microsoft.com/office/drawing/2014/main" id="{4ED3F2BA-5947-47C0-B05C-6A14301BBB56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958980" y="3998860"/>
            <a:ext cx="2893389" cy="182991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1418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18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4182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4618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4618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13674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5126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77699 w 1828800"/>
              <a:gd name="connsiteY1" fmla="*/ 0 h 914400"/>
              <a:gd name="connsiteX2" fmla="*/ 1828800 w 1828800"/>
              <a:gd name="connsiteY2" fmla="*/ 457200 h 914400"/>
              <a:gd name="connsiteX3" fmla="*/ 181512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77699 w 1828800"/>
              <a:gd name="connsiteY1" fmla="*/ 0 h 914400"/>
              <a:gd name="connsiteX2" fmla="*/ 1828800 w 1828800"/>
              <a:gd name="connsiteY2" fmla="*/ 457200 h 914400"/>
              <a:gd name="connsiteX3" fmla="*/ 177769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77699 w 1828800"/>
              <a:gd name="connsiteY1" fmla="*/ 0 h 914400"/>
              <a:gd name="connsiteX2" fmla="*/ 1828800 w 1828800"/>
              <a:gd name="connsiteY2" fmla="*/ 457200 h 914400"/>
              <a:gd name="connsiteX3" fmla="*/ 177769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16397 w 1828800"/>
              <a:gd name="connsiteY1" fmla="*/ 0 h 914400"/>
              <a:gd name="connsiteX2" fmla="*/ 1828800 w 1828800"/>
              <a:gd name="connsiteY2" fmla="*/ 457200 h 914400"/>
              <a:gd name="connsiteX3" fmla="*/ 177769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16397 w 1828800"/>
              <a:gd name="connsiteY1" fmla="*/ 0 h 914400"/>
              <a:gd name="connsiteX2" fmla="*/ 1828800 w 1828800"/>
              <a:gd name="connsiteY2" fmla="*/ 457200 h 914400"/>
              <a:gd name="connsiteX3" fmla="*/ 1816397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4 h 914400"/>
              <a:gd name="connsiteX0" fmla="*/ 0 w 1828800"/>
              <a:gd name="connsiteY0" fmla="*/ 0 h 914400"/>
              <a:gd name="connsiteX1" fmla="*/ 1816397 w 1828800"/>
              <a:gd name="connsiteY1" fmla="*/ 0 h 914400"/>
              <a:gd name="connsiteX2" fmla="*/ 1828800 w 1828800"/>
              <a:gd name="connsiteY2" fmla="*/ 457200 h 914400"/>
              <a:gd name="connsiteX3" fmla="*/ 1816397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97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414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386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386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8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2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6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2 w 1828800"/>
              <a:gd name="connsiteY3" fmla="*/ 914400 h 914400"/>
              <a:gd name="connsiteX4" fmla="*/ 0 w 1828800"/>
              <a:gd name="connsiteY4" fmla="*/ 914400 h 914400"/>
              <a:gd name="connsiteX5" fmla="*/ 12026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12026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4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1203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4 w 1828800"/>
              <a:gd name="connsiteY3" fmla="*/ 914400 h 914400"/>
              <a:gd name="connsiteX4" fmla="*/ 0 w 1828800"/>
              <a:gd name="connsiteY4" fmla="*/ 914400 h 914400"/>
              <a:gd name="connsiteX5" fmla="*/ 1203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0 w 1828800"/>
              <a:gd name="connsiteY3" fmla="*/ 914400 h 914400"/>
              <a:gd name="connsiteX4" fmla="*/ 0 w 1828800"/>
              <a:gd name="connsiteY4" fmla="*/ 914400 h 914400"/>
              <a:gd name="connsiteX5" fmla="*/ 1203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  <a:gd name="connsiteX0" fmla="*/ 0 w 1828800"/>
              <a:gd name="connsiteY0" fmla="*/ 0 h 914400"/>
              <a:gd name="connsiteX1" fmla="*/ 1816770 w 1828800"/>
              <a:gd name="connsiteY1" fmla="*/ 0 h 914400"/>
              <a:gd name="connsiteX2" fmla="*/ 1828800 w 1828800"/>
              <a:gd name="connsiteY2" fmla="*/ 457200 h 914400"/>
              <a:gd name="connsiteX3" fmla="*/ 181677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5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16770" y="0"/>
                </a:lnTo>
                <a:lnTo>
                  <a:pt x="1828800" y="457200"/>
                </a:lnTo>
                <a:lnTo>
                  <a:pt x="1816770" y="914400"/>
                </a:lnTo>
                <a:lnTo>
                  <a:pt x="0" y="914400"/>
                </a:lnTo>
                <a:lnTo>
                  <a:pt x="0" y="457205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Freeform 85">
            <a:extLst>
              <a:ext uri="{FF2B5EF4-FFF2-40B4-BE49-F238E27FC236}">
                <a16:creationId xmlns:a16="http://schemas.microsoft.com/office/drawing/2014/main" id="{BDEEDD43-85F2-48BE-A192-4D7B7C651492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958978" y="1345913"/>
            <a:ext cx="2009046" cy="141007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232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232 w 1828800"/>
              <a:gd name="connsiteY1" fmla="*/ 0 h 914400"/>
              <a:gd name="connsiteX2" fmla="*/ 1828800 w 1828800"/>
              <a:gd name="connsiteY2" fmla="*/ 457200 h 914400"/>
              <a:gd name="connsiteX3" fmla="*/ 1807232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7232 w 1828800"/>
              <a:gd name="connsiteY1" fmla="*/ 0 h 914400"/>
              <a:gd name="connsiteX2" fmla="*/ 1828800 w 1828800"/>
              <a:gd name="connsiteY2" fmla="*/ 457200 h 914400"/>
              <a:gd name="connsiteX3" fmla="*/ 1807232 w 1828800"/>
              <a:gd name="connsiteY3" fmla="*/ 914400 h 914400"/>
              <a:gd name="connsiteX4" fmla="*/ 0 w 1828800"/>
              <a:gd name="connsiteY4" fmla="*/ 914400 h 914400"/>
              <a:gd name="connsiteX5" fmla="*/ 23526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7232 w 1828800"/>
              <a:gd name="connsiteY3" fmla="*/ 914400 h 914400"/>
              <a:gd name="connsiteX4" fmla="*/ 0 w 1828800"/>
              <a:gd name="connsiteY4" fmla="*/ 914400 h 914400"/>
              <a:gd name="connsiteX5" fmla="*/ 23526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5274 w 1828800"/>
              <a:gd name="connsiteY3" fmla="*/ 914400 h 914400"/>
              <a:gd name="connsiteX4" fmla="*/ 0 w 1828800"/>
              <a:gd name="connsiteY4" fmla="*/ 914400 h 914400"/>
              <a:gd name="connsiteX5" fmla="*/ 23526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52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52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05274 w 1828800"/>
              <a:gd name="connsiteY1" fmla="*/ 0 h 914400"/>
              <a:gd name="connsiteX2" fmla="*/ 1828800 w 1828800"/>
              <a:gd name="connsiteY2" fmla="*/ 457200 h 914400"/>
              <a:gd name="connsiteX3" fmla="*/ 18052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05274" y="0"/>
                </a:lnTo>
                <a:lnTo>
                  <a:pt x="1828800" y="457200"/>
                </a:lnTo>
                <a:lnTo>
                  <a:pt x="1805274" y="914400"/>
                </a:lnTo>
                <a:lnTo>
                  <a:pt x="0" y="914400"/>
                </a:lnTo>
                <a:lnTo>
                  <a:pt x="0" y="457203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Freeform 85">
            <a:extLst>
              <a:ext uri="{FF2B5EF4-FFF2-40B4-BE49-F238E27FC236}">
                <a16:creationId xmlns:a16="http://schemas.microsoft.com/office/drawing/2014/main" id="{071E0C9A-DBF8-4933-A555-8DFEEE10A5B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962385" y="2026061"/>
            <a:ext cx="1604498" cy="125749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8790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798790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8111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800689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0689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7284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1516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1516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26306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02494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802494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34939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2 h 914400"/>
              <a:gd name="connsiteX0" fmla="*/ 0 w 1828800"/>
              <a:gd name="connsiteY0" fmla="*/ 0 h 914400"/>
              <a:gd name="connsiteX1" fmla="*/ 1793861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3399 w 1828800"/>
              <a:gd name="connsiteY1" fmla="*/ 0 h 914400"/>
              <a:gd name="connsiteX2" fmla="*/ 1828800 w 1828800"/>
              <a:gd name="connsiteY2" fmla="*/ 457200 h 914400"/>
              <a:gd name="connsiteX3" fmla="*/ 1793861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3399 w 1828800"/>
              <a:gd name="connsiteY1" fmla="*/ 0 h 914400"/>
              <a:gd name="connsiteX2" fmla="*/ 1828800 w 1828800"/>
              <a:gd name="connsiteY2" fmla="*/ 457200 h 914400"/>
              <a:gd name="connsiteX3" fmla="*/ 1813399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813399 w 1828800"/>
              <a:gd name="connsiteY1" fmla="*/ 0 h 914400"/>
              <a:gd name="connsiteX2" fmla="*/ 1828800 w 1828800"/>
              <a:gd name="connsiteY2" fmla="*/ 457200 h 914400"/>
              <a:gd name="connsiteX3" fmla="*/ 1813399 w 1828800"/>
              <a:gd name="connsiteY3" fmla="*/ 914400 h 914400"/>
              <a:gd name="connsiteX4" fmla="*/ 0 w 1828800"/>
              <a:gd name="connsiteY4" fmla="*/ 914400 h 914400"/>
              <a:gd name="connsiteX5" fmla="*/ 14826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399 w 1828800"/>
              <a:gd name="connsiteY3" fmla="*/ 914400 h 914400"/>
              <a:gd name="connsiteX4" fmla="*/ 0 w 1828800"/>
              <a:gd name="connsiteY4" fmla="*/ 914400 h 914400"/>
              <a:gd name="connsiteX5" fmla="*/ 14826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974 w 1828800"/>
              <a:gd name="connsiteY3" fmla="*/ 914400 h 914400"/>
              <a:gd name="connsiteX4" fmla="*/ 0 w 1828800"/>
              <a:gd name="connsiteY4" fmla="*/ 914400 h 914400"/>
              <a:gd name="connsiteX5" fmla="*/ 14826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9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9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  <a:gd name="connsiteX0" fmla="*/ 0 w 1828800"/>
              <a:gd name="connsiteY0" fmla="*/ 0 h 914400"/>
              <a:gd name="connsiteX1" fmla="*/ 1813974 w 1828800"/>
              <a:gd name="connsiteY1" fmla="*/ 0 h 914400"/>
              <a:gd name="connsiteX2" fmla="*/ 1828800 w 1828800"/>
              <a:gd name="connsiteY2" fmla="*/ 457200 h 914400"/>
              <a:gd name="connsiteX3" fmla="*/ 1813974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3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813974" y="0"/>
                </a:lnTo>
                <a:lnTo>
                  <a:pt x="1828800" y="457200"/>
                </a:lnTo>
                <a:lnTo>
                  <a:pt x="1813974" y="914400"/>
                </a:lnTo>
                <a:lnTo>
                  <a:pt x="0" y="914400"/>
                </a:lnTo>
                <a:lnTo>
                  <a:pt x="0" y="457203"/>
                </a:lnTo>
                <a:close/>
              </a:path>
            </a:pathLst>
          </a:custGeom>
          <a:solidFill>
            <a:schemeClr val="accent4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eaLnBrk="1"/>
            <a:endParaRPr lang="de-DE" sz="9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Flowchart: Decision 42">
            <a:extLst>
              <a:ext uri="{FF2B5EF4-FFF2-40B4-BE49-F238E27FC236}">
                <a16:creationId xmlns:a16="http://schemas.microsoft.com/office/drawing/2014/main" id="{5A95DC07-91E3-4F26-9FB8-0ECB29943849}"/>
              </a:ext>
            </a:extLst>
          </p:cNvPr>
          <p:cNvSpPr>
            <a:spLocks/>
          </p:cNvSpPr>
          <p:nvPr/>
        </p:nvSpPr>
        <p:spPr bwMode="gray">
          <a:xfrm>
            <a:off x="3440629" y="2017149"/>
            <a:ext cx="144000" cy="144000"/>
          </a:xfrm>
          <a:prstGeom prst="flowChartDecision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09F4EE4-E6DC-4B8A-9B33-74703C3CB86C}"/>
              </a:ext>
            </a:extLst>
          </p:cNvPr>
          <p:cNvSpPr txBox="1">
            <a:spLocks/>
          </p:cNvSpPr>
          <p:nvPr/>
        </p:nvSpPr>
        <p:spPr bwMode="gray">
          <a:xfrm>
            <a:off x="4113293" y="2572898"/>
            <a:ext cx="931272" cy="34970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s Meilensteins&gt;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422DF65-929A-46AC-A195-E796711E25DD}"/>
              </a:ext>
            </a:extLst>
          </p:cNvPr>
          <p:cNvSpPr txBox="1">
            <a:spLocks/>
          </p:cNvSpPr>
          <p:nvPr/>
        </p:nvSpPr>
        <p:spPr bwMode="gray">
          <a:xfrm>
            <a:off x="3634121" y="1922633"/>
            <a:ext cx="931272" cy="34970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671496" eaLnBrk="1" hangingPunct="1">
              <a:buClr>
                <a:schemeClr val="tx2"/>
              </a:buClr>
              <a:defRPr sz="10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s Meilensteins&gt;</a:t>
            </a:r>
          </a:p>
        </p:txBody>
      </p:sp>
      <p:sp>
        <p:nvSpPr>
          <p:cNvPr id="85" name="Flowchart: Decision 84">
            <a:extLst>
              <a:ext uri="{FF2B5EF4-FFF2-40B4-BE49-F238E27FC236}">
                <a16:creationId xmlns:a16="http://schemas.microsoft.com/office/drawing/2014/main" id="{4EDFC954-7898-4FEC-85A2-D2842852FD77}"/>
              </a:ext>
            </a:extLst>
          </p:cNvPr>
          <p:cNvSpPr>
            <a:spLocks/>
          </p:cNvSpPr>
          <p:nvPr/>
        </p:nvSpPr>
        <p:spPr bwMode="gray">
          <a:xfrm>
            <a:off x="3891188" y="1328710"/>
            <a:ext cx="144000" cy="144000"/>
          </a:xfrm>
          <a:prstGeom prst="flowChartDecision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9382212-A0EA-46B1-986D-D303866C7665}"/>
              </a:ext>
            </a:extLst>
          </p:cNvPr>
          <p:cNvSpPr txBox="1">
            <a:spLocks/>
          </p:cNvSpPr>
          <p:nvPr/>
        </p:nvSpPr>
        <p:spPr bwMode="gray">
          <a:xfrm>
            <a:off x="4084680" y="1281306"/>
            <a:ext cx="931272" cy="34970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s Meilensteins&gt;</a:t>
            </a:r>
          </a:p>
        </p:txBody>
      </p:sp>
      <p:sp>
        <p:nvSpPr>
          <p:cNvPr id="87" name="Flowchart: Decision 86">
            <a:extLst>
              <a:ext uri="{FF2B5EF4-FFF2-40B4-BE49-F238E27FC236}">
                <a16:creationId xmlns:a16="http://schemas.microsoft.com/office/drawing/2014/main" id="{4871C24A-E038-40B9-ABBA-33AF793D5E89}"/>
              </a:ext>
            </a:extLst>
          </p:cNvPr>
          <p:cNvSpPr>
            <a:spLocks/>
          </p:cNvSpPr>
          <p:nvPr/>
        </p:nvSpPr>
        <p:spPr bwMode="gray">
          <a:xfrm>
            <a:off x="3919801" y="2677882"/>
            <a:ext cx="144000" cy="144000"/>
          </a:xfrm>
          <a:prstGeom prst="flowChartDecision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1B23FC6-1BFB-4BEC-B23C-18B1A66E3F7E}"/>
              </a:ext>
            </a:extLst>
          </p:cNvPr>
          <p:cNvSpPr txBox="1">
            <a:spLocks/>
          </p:cNvSpPr>
          <p:nvPr/>
        </p:nvSpPr>
        <p:spPr bwMode="gray">
          <a:xfrm>
            <a:off x="3664077" y="3240215"/>
            <a:ext cx="931272" cy="349702"/>
          </a:xfrm>
          <a:prstGeom prst="rect">
            <a:avLst/>
          </a:prstGeom>
          <a:solidFill>
            <a:schemeClr val="bg1">
              <a:alpha val="9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36000" rIns="0" bIns="3600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671496" eaLnBrk="1" hangingPunct="1">
              <a:buClr>
                <a:schemeClr val="tx2"/>
              </a:buClr>
              <a:defRPr sz="10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s Meilensteins&gt;</a:t>
            </a:r>
          </a:p>
        </p:txBody>
      </p:sp>
      <p:sp>
        <p:nvSpPr>
          <p:cNvPr id="89" name="Flowchart: Decision 88">
            <a:extLst>
              <a:ext uri="{FF2B5EF4-FFF2-40B4-BE49-F238E27FC236}">
                <a16:creationId xmlns:a16="http://schemas.microsoft.com/office/drawing/2014/main" id="{6A7FA93B-8E78-406C-993E-78269F911D4F}"/>
              </a:ext>
            </a:extLst>
          </p:cNvPr>
          <p:cNvSpPr>
            <a:spLocks/>
          </p:cNvSpPr>
          <p:nvPr/>
        </p:nvSpPr>
        <p:spPr bwMode="gray">
          <a:xfrm>
            <a:off x="3470585" y="3301203"/>
            <a:ext cx="144000" cy="144000"/>
          </a:xfrm>
          <a:prstGeom prst="flowChartDecision">
            <a:avLst/>
          </a:prstGeom>
          <a:solidFill>
            <a:schemeClr val="bg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900" dirty="0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F04A1CC-3432-4796-9B0E-4E7B2F15022C}"/>
              </a:ext>
            </a:extLst>
          </p:cNvPr>
          <p:cNvSpPr txBox="1">
            <a:spLocks/>
          </p:cNvSpPr>
          <p:nvPr/>
        </p:nvSpPr>
        <p:spPr bwMode="gray">
          <a:xfrm>
            <a:off x="2629165" y="4495457"/>
            <a:ext cx="6087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</a:t>
            </a:r>
          </a:p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9</a:t>
            </a:r>
          </a:p>
        </p:txBody>
      </p:sp>
      <p:sp>
        <p:nvSpPr>
          <p:cNvPr id="16" name="Body1 19">
            <a:extLst>
              <a:ext uri="{FF2B5EF4-FFF2-40B4-BE49-F238E27FC236}">
                <a16:creationId xmlns:a16="http://schemas.microsoft.com/office/drawing/2014/main" id="{95134F82-7967-4175-8E72-15305641DA4B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924198" y="4253234"/>
            <a:ext cx="343019" cy="138499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algn="ctr"/>
            <a:r>
              <a:rPr lang="de-DE" sz="9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ute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AA7A1B1-2493-4821-8E31-3534CFB39CAB}"/>
              </a:ext>
            </a:extLst>
          </p:cNvPr>
          <p:cNvSpPr txBox="1">
            <a:spLocks/>
          </p:cNvSpPr>
          <p:nvPr/>
        </p:nvSpPr>
        <p:spPr bwMode="gray">
          <a:xfrm>
            <a:off x="546101" y="3338122"/>
            <a:ext cx="13144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i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Themen&gt;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31D08EF8-BFF6-4DF0-97A9-6F3B1F2F9540}"/>
              </a:ext>
            </a:extLst>
          </p:cNvPr>
          <p:cNvSpPr txBox="1">
            <a:spLocks/>
          </p:cNvSpPr>
          <p:nvPr/>
        </p:nvSpPr>
        <p:spPr bwMode="gray">
          <a:xfrm>
            <a:off x="5370284" y="939485"/>
            <a:ext cx="20389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5FBC5CE-748D-4873-9F99-5D5556DFD8BB}"/>
              </a:ext>
            </a:extLst>
          </p:cNvPr>
          <p:cNvSpPr txBox="1">
            <a:spLocks/>
          </p:cNvSpPr>
          <p:nvPr/>
        </p:nvSpPr>
        <p:spPr>
          <a:xfrm>
            <a:off x="5147086" y="2019685"/>
            <a:ext cx="20389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s Status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CE53A9-304D-47BD-BEA1-5C934CFFDA18}"/>
              </a:ext>
            </a:extLst>
          </p:cNvPr>
          <p:cNvSpPr txBox="1">
            <a:spLocks/>
          </p:cNvSpPr>
          <p:nvPr/>
        </p:nvSpPr>
        <p:spPr>
          <a:xfrm>
            <a:off x="5147086" y="3299331"/>
            <a:ext cx="20389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s Status&gt;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C29F400-7410-448B-AAC9-DFB2D5F89A2A}"/>
              </a:ext>
            </a:extLst>
          </p:cNvPr>
          <p:cNvSpPr txBox="1">
            <a:spLocks/>
          </p:cNvSpPr>
          <p:nvPr/>
        </p:nvSpPr>
        <p:spPr>
          <a:xfrm>
            <a:off x="5147086" y="2674320"/>
            <a:ext cx="20389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s Status&gt;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CFFA756-C47E-46EA-8D77-E3A89D850626}"/>
              </a:ext>
            </a:extLst>
          </p:cNvPr>
          <p:cNvSpPr txBox="1">
            <a:spLocks/>
          </p:cNvSpPr>
          <p:nvPr/>
        </p:nvSpPr>
        <p:spPr>
          <a:xfrm>
            <a:off x="5147086" y="1347166"/>
            <a:ext cx="2038962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s Status&gt;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BC4A5B8-EA88-4C92-B997-6C4D5DB0328C}"/>
              </a:ext>
            </a:extLst>
          </p:cNvPr>
          <p:cNvSpPr txBox="1">
            <a:spLocks/>
          </p:cNvSpPr>
          <p:nvPr/>
        </p:nvSpPr>
        <p:spPr>
          <a:xfrm>
            <a:off x="5147086" y="3951856"/>
            <a:ext cx="203896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dirty="0">
                <a:latin typeface="Arial" panose="020B0604020202020204" pitchFamily="34" charset="0"/>
                <a:cs typeface="Arial" panose="020B0604020202020204" pitchFamily="34" charset="0"/>
              </a:rPr>
              <a:t>Steuerungskreise werden zweiwöchig durchgeführ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58497E3F-78B2-4CB8-BC85-7A81E28B7AAA}"/>
              </a:ext>
            </a:extLst>
          </p:cNvPr>
          <p:cNvGrpSpPr/>
          <p:nvPr/>
        </p:nvGrpSpPr>
        <p:grpSpPr>
          <a:xfrm>
            <a:off x="7860014" y="1964941"/>
            <a:ext cx="684001" cy="251999"/>
            <a:chOff x="7892671" y="1957817"/>
            <a:chExt cx="684001" cy="251999"/>
          </a:xfrm>
        </p:grpSpPr>
        <p:sp>
          <p:nvSpPr>
            <p:cNvPr id="58" name="Freeform 6">
              <a:extLst>
                <a:ext uri="{FF2B5EF4-FFF2-40B4-BE49-F238E27FC236}">
                  <a16:creationId xmlns:a16="http://schemas.microsoft.com/office/drawing/2014/main" id="{C142A33C-32BF-4091-AB0E-B5E18B966F4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12194" y="1745412"/>
              <a:ext cx="244958" cy="676809"/>
            </a:xfrm>
            <a:custGeom>
              <a:avLst/>
              <a:gdLst>
                <a:gd name="T0" fmla="*/ 772 w 2785"/>
                <a:gd name="T1" fmla="*/ 7211 h 7211"/>
                <a:gd name="T2" fmla="*/ 1392 w 2785"/>
                <a:gd name="T3" fmla="*/ 7211 h 7211"/>
                <a:gd name="T4" fmla="*/ 2013 w 2785"/>
                <a:gd name="T5" fmla="*/ 7211 h 7211"/>
                <a:gd name="T6" fmla="*/ 2559 w 2785"/>
                <a:gd name="T7" fmla="*/ 6984 h 7211"/>
                <a:gd name="T8" fmla="*/ 2785 w 2785"/>
                <a:gd name="T9" fmla="*/ 6439 h 7211"/>
                <a:gd name="T10" fmla="*/ 2785 w 2785"/>
                <a:gd name="T11" fmla="*/ 3605 h 7211"/>
                <a:gd name="T12" fmla="*/ 2785 w 2785"/>
                <a:gd name="T13" fmla="*/ 772 h 7211"/>
                <a:gd name="T14" fmla="*/ 2559 w 2785"/>
                <a:gd name="T15" fmla="*/ 226 h 7211"/>
                <a:gd name="T16" fmla="*/ 2013 w 2785"/>
                <a:gd name="T17" fmla="*/ 0 h 7211"/>
                <a:gd name="T18" fmla="*/ 1392 w 2785"/>
                <a:gd name="T19" fmla="*/ 0 h 7211"/>
                <a:gd name="T20" fmla="*/ 772 w 2785"/>
                <a:gd name="T21" fmla="*/ 0 h 7211"/>
                <a:gd name="T22" fmla="*/ 226 w 2785"/>
                <a:gd name="T23" fmla="*/ 226 h 7211"/>
                <a:gd name="T24" fmla="*/ 0 w 2785"/>
                <a:gd name="T25" fmla="*/ 772 h 7211"/>
                <a:gd name="T26" fmla="*/ 0 w 2785"/>
                <a:gd name="T27" fmla="*/ 3605 h 7211"/>
                <a:gd name="T28" fmla="*/ 0 w 2785"/>
                <a:gd name="T29" fmla="*/ 6439 h 7211"/>
                <a:gd name="T30" fmla="*/ 226 w 2785"/>
                <a:gd name="T31" fmla="*/ 6984 h 7211"/>
                <a:gd name="T32" fmla="*/ 772 w 2785"/>
                <a:gd name="T33" fmla="*/ 7211 h 7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5" h="7211">
                  <a:moveTo>
                    <a:pt x="772" y="7211"/>
                  </a:moveTo>
                  <a:cubicBezTo>
                    <a:pt x="1392" y="7211"/>
                    <a:pt x="1392" y="7211"/>
                    <a:pt x="1392" y="7211"/>
                  </a:cubicBezTo>
                  <a:cubicBezTo>
                    <a:pt x="2013" y="7211"/>
                    <a:pt x="2013" y="7211"/>
                    <a:pt x="2013" y="7211"/>
                  </a:cubicBezTo>
                  <a:cubicBezTo>
                    <a:pt x="2226" y="7211"/>
                    <a:pt x="2419" y="7124"/>
                    <a:pt x="2559" y="6984"/>
                  </a:cubicBezTo>
                  <a:cubicBezTo>
                    <a:pt x="2698" y="6845"/>
                    <a:pt x="2785" y="6652"/>
                    <a:pt x="2785" y="6439"/>
                  </a:cubicBezTo>
                  <a:cubicBezTo>
                    <a:pt x="2785" y="3605"/>
                    <a:pt x="2785" y="3605"/>
                    <a:pt x="2785" y="3605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0" y="3605"/>
                    <a:pt x="0" y="3605"/>
                    <a:pt x="0" y="3605"/>
                  </a:cubicBezTo>
                  <a:cubicBezTo>
                    <a:pt x="0" y="6439"/>
                    <a:pt x="0" y="6439"/>
                    <a:pt x="0" y="6439"/>
                  </a:cubicBezTo>
                  <a:cubicBezTo>
                    <a:pt x="0" y="6652"/>
                    <a:pt x="86" y="6845"/>
                    <a:pt x="226" y="6984"/>
                  </a:cubicBezTo>
                  <a:cubicBezTo>
                    <a:pt x="366" y="7124"/>
                    <a:pt x="559" y="7211"/>
                    <a:pt x="772" y="7211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51C470C8-4E38-4107-90DD-0D7550539FD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4323" y="2047542"/>
              <a:ext cx="244958" cy="72550"/>
            </a:xfrm>
            <a:custGeom>
              <a:avLst/>
              <a:gdLst>
                <a:gd name="T0" fmla="*/ 772 w 2785"/>
                <a:gd name="T1" fmla="*/ 772 h 772"/>
                <a:gd name="T2" fmla="*/ 1392 w 2785"/>
                <a:gd name="T3" fmla="*/ 772 h 772"/>
                <a:gd name="T4" fmla="*/ 2013 w 2785"/>
                <a:gd name="T5" fmla="*/ 772 h 772"/>
                <a:gd name="T6" fmla="*/ 2559 w 2785"/>
                <a:gd name="T7" fmla="*/ 545 h 772"/>
                <a:gd name="T8" fmla="*/ 2785 w 2785"/>
                <a:gd name="T9" fmla="*/ 0 h 772"/>
                <a:gd name="T10" fmla="*/ 0 w 2785"/>
                <a:gd name="T11" fmla="*/ 0 h 772"/>
                <a:gd name="T12" fmla="*/ 226 w 2785"/>
                <a:gd name="T13" fmla="*/ 545 h 772"/>
                <a:gd name="T14" fmla="*/ 772 w 2785"/>
                <a:gd name="T15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772" y="772"/>
                  </a:moveTo>
                  <a:cubicBezTo>
                    <a:pt x="1392" y="772"/>
                    <a:pt x="1392" y="772"/>
                    <a:pt x="1392" y="772"/>
                  </a:cubicBezTo>
                  <a:cubicBezTo>
                    <a:pt x="2013" y="772"/>
                    <a:pt x="2013" y="772"/>
                    <a:pt x="2013" y="772"/>
                  </a:cubicBezTo>
                  <a:cubicBezTo>
                    <a:pt x="2226" y="772"/>
                    <a:pt x="2419" y="685"/>
                    <a:pt x="2559" y="545"/>
                  </a:cubicBezTo>
                  <a:cubicBezTo>
                    <a:pt x="2698" y="406"/>
                    <a:pt x="2785" y="213"/>
                    <a:pt x="27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86" y="406"/>
                    <a:pt x="226" y="545"/>
                  </a:cubicBezTo>
                  <a:cubicBezTo>
                    <a:pt x="366" y="685"/>
                    <a:pt x="559" y="772"/>
                    <a:pt x="772" y="772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60" name="Freeform 8">
              <a:extLst>
                <a:ext uri="{FF2B5EF4-FFF2-40B4-BE49-F238E27FC236}">
                  <a16:creationId xmlns:a16="http://schemas.microsoft.com/office/drawing/2014/main" id="{BD4158AC-5672-4C1F-B4FB-6AF20C89754D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0639" y="2043784"/>
              <a:ext cx="251999" cy="80066"/>
            </a:xfrm>
            <a:custGeom>
              <a:avLst/>
              <a:gdLst>
                <a:gd name="T0" fmla="*/ 812 w 2865"/>
                <a:gd name="T1" fmla="*/ 852 h 852"/>
                <a:gd name="T2" fmla="*/ 2053 w 2865"/>
                <a:gd name="T3" fmla="*/ 852 h 852"/>
                <a:gd name="T4" fmla="*/ 2627 w 2865"/>
                <a:gd name="T5" fmla="*/ 614 h 852"/>
                <a:gd name="T6" fmla="*/ 2865 w 2865"/>
                <a:gd name="T7" fmla="*/ 40 h 852"/>
                <a:gd name="T8" fmla="*/ 2825 w 2865"/>
                <a:gd name="T9" fmla="*/ 0 h 852"/>
                <a:gd name="T10" fmla="*/ 2785 w 2865"/>
                <a:gd name="T11" fmla="*/ 40 h 852"/>
                <a:gd name="T12" fmla="*/ 2570 w 2865"/>
                <a:gd name="T13" fmla="*/ 557 h 852"/>
                <a:gd name="T14" fmla="*/ 2053 w 2865"/>
                <a:gd name="T15" fmla="*/ 772 h 852"/>
                <a:gd name="T16" fmla="*/ 812 w 2865"/>
                <a:gd name="T17" fmla="*/ 772 h 852"/>
                <a:gd name="T18" fmla="*/ 294 w 2865"/>
                <a:gd name="T19" fmla="*/ 557 h 852"/>
                <a:gd name="T20" fmla="*/ 80 w 2865"/>
                <a:gd name="T21" fmla="*/ 40 h 852"/>
                <a:gd name="T22" fmla="*/ 40 w 2865"/>
                <a:gd name="T23" fmla="*/ 0 h 852"/>
                <a:gd name="T24" fmla="*/ 0 w 2865"/>
                <a:gd name="T25" fmla="*/ 40 h 852"/>
                <a:gd name="T26" fmla="*/ 238 w 2865"/>
                <a:gd name="T27" fmla="*/ 614 h 852"/>
                <a:gd name="T28" fmla="*/ 812 w 2865"/>
                <a:gd name="T29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12" y="852"/>
                  </a:moveTo>
                  <a:cubicBezTo>
                    <a:pt x="2053" y="852"/>
                    <a:pt x="2053" y="852"/>
                    <a:pt x="2053" y="852"/>
                  </a:cubicBezTo>
                  <a:cubicBezTo>
                    <a:pt x="2270" y="852"/>
                    <a:pt x="2474" y="767"/>
                    <a:pt x="2627" y="614"/>
                  </a:cubicBezTo>
                  <a:cubicBezTo>
                    <a:pt x="2780" y="460"/>
                    <a:pt x="2865" y="256"/>
                    <a:pt x="2865" y="40"/>
                  </a:cubicBezTo>
                  <a:cubicBezTo>
                    <a:pt x="2865" y="17"/>
                    <a:pt x="2847" y="0"/>
                    <a:pt x="2825" y="0"/>
                  </a:cubicBezTo>
                  <a:cubicBezTo>
                    <a:pt x="2803" y="0"/>
                    <a:pt x="2785" y="17"/>
                    <a:pt x="2785" y="40"/>
                  </a:cubicBezTo>
                  <a:cubicBezTo>
                    <a:pt x="2785" y="235"/>
                    <a:pt x="2709" y="419"/>
                    <a:pt x="2570" y="557"/>
                  </a:cubicBezTo>
                  <a:cubicBezTo>
                    <a:pt x="2432" y="695"/>
                    <a:pt x="2248" y="772"/>
                    <a:pt x="2053" y="772"/>
                  </a:cubicBezTo>
                  <a:cubicBezTo>
                    <a:pt x="812" y="772"/>
                    <a:pt x="812" y="772"/>
                    <a:pt x="812" y="772"/>
                  </a:cubicBezTo>
                  <a:cubicBezTo>
                    <a:pt x="616" y="772"/>
                    <a:pt x="432" y="695"/>
                    <a:pt x="294" y="557"/>
                  </a:cubicBezTo>
                  <a:cubicBezTo>
                    <a:pt x="156" y="419"/>
                    <a:pt x="80" y="235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ubicBezTo>
                    <a:pt x="18" y="0"/>
                    <a:pt x="0" y="17"/>
                    <a:pt x="0" y="40"/>
                  </a:cubicBezTo>
                  <a:cubicBezTo>
                    <a:pt x="0" y="256"/>
                    <a:pt x="84" y="460"/>
                    <a:pt x="238" y="614"/>
                  </a:cubicBezTo>
                  <a:cubicBezTo>
                    <a:pt x="391" y="767"/>
                    <a:pt x="595" y="852"/>
                    <a:pt x="812" y="85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EC34003E-23B8-43D4-9C92-3290EC943D3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10064" y="2047542"/>
              <a:ext cx="244958" cy="72550"/>
            </a:xfrm>
            <a:custGeom>
              <a:avLst/>
              <a:gdLst>
                <a:gd name="T0" fmla="*/ 2559 w 2785"/>
                <a:gd name="T1" fmla="*/ 226 h 772"/>
                <a:gd name="T2" fmla="*/ 2013 w 2785"/>
                <a:gd name="T3" fmla="*/ 0 h 772"/>
                <a:gd name="T4" fmla="*/ 1392 w 2785"/>
                <a:gd name="T5" fmla="*/ 0 h 772"/>
                <a:gd name="T6" fmla="*/ 772 w 2785"/>
                <a:gd name="T7" fmla="*/ 0 h 772"/>
                <a:gd name="T8" fmla="*/ 226 w 2785"/>
                <a:gd name="T9" fmla="*/ 226 h 772"/>
                <a:gd name="T10" fmla="*/ 0 w 2785"/>
                <a:gd name="T11" fmla="*/ 772 h 772"/>
                <a:gd name="T12" fmla="*/ 2785 w 2785"/>
                <a:gd name="T13" fmla="*/ 772 h 772"/>
                <a:gd name="T14" fmla="*/ 2559 w 2785"/>
                <a:gd name="T15" fmla="*/ 226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2559" y="226"/>
                  </a:move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62" name="Freeform 10">
              <a:extLst>
                <a:ext uri="{FF2B5EF4-FFF2-40B4-BE49-F238E27FC236}">
                  <a16:creationId xmlns:a16="http://schemas.microsoft.com/office/drawing/2014/main" id="{9E836001-95D4-439B-94C8-097EE674FB1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06542" y="2043946"/>
              <a:ext cx="251999" cy="79741"/>
            </a:xfrm>
            <a:custGeom>
              <a:avLst/>
              <a:gdLst>
                <a:gd name="T0" fmla="*/ 80 w 2865"/>
                <a:gd name="T1" fmla="*/ 812 h 852"/>
                <a:gd name="T2" fmla="*/ 294 w 2865"/>
                <a:gd name="T3" fmla="*/ 294 h 852"/>
                <a:gd name="T4" fmla="*/ 812 w 2865"/>
                <a:gd name="T5" fmla="*/ 80 h 852"/>
                <a:gd name="T6" fmla="*/ 2053 w 2865"/>
                <a:gd name="T7" fmla="*/ 80 h 852"/>
                <a:gd name="T8" fmla="*/ 2570 w 2865"/>
                <a:gd name="T9" fmla="*/ 294 h 852"/>
                <a:gd name="T10" fmla="*/ 2785 w 2865"/>
                <a:gd name="T11" fmla="*/ 812 h 852"/>
                <a:gd name="T12" fmla="*/ 2825 w 2865"/>
                <a:gd name="T13" fmla="*/ 852 h 852"/>
                <a:gd name="T14" fmla="*/ 2865 w 2865"/>
                <a:gd name="T15" fmla="*/ 812 h 852"/>
                <a:gd name="T16" fmla="*/ 2627 w 2865"/>
                <a:gd name="T17" fmla="*/ 238 h 852"/>
                <a:gd name="T18" fmla="*/ 2053 w 2865"/>
                <a:gd name="T19" fmla="*/ 0 h 852"/>
                <a:gd name="T20" fmla="*/ 812 w 2865"/>
                <a:gd name="T21" fmla="*/ 0 h 852"/>
                <a:gd name="T22" fmla="*/ 238 w 2865"/>
                <a:gd name="T23" fmla="*/ 238 h 852"/>
                <a:gd name="T24" fmla="*/ 0 w 2865"/>
                <a:gd name="T25" fmla="*/ 812 h 852"/>
                <a:gd name="T26" fmla="*/ 40 w 2865"/>
                <a:gd name="T27" fmla="*/ 852 h 852"/>
                <a:gd name="T28" fmla="*/ 80 w 2865"/>
                <a:gd name="T29" fmla="*/ 81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0" y="812"/>
                  </a:moveTo>
                  <a:cubicBezTo>
                    <a:pt x="80" y="616"/>
                    <a:pt x="156" y="432"/>
                    <a:pt x="294" y="294"/>
                  </a:cubicBezTo>
                  <a:cubicBezTo>
                    <a:pt x="432" y="156"/>
                    <a:pt x="616" y="80"/>
                    <a:pt x="812" y="80"/>
                  </a:cubicBezTo>
                  <a:cubicBezTo>
                    <a:pt x="2053" y="80"/>
                    <a:pt x="2053" y="80"/>
                    <a:pt x="2053" y="80"/>
                  </a:cubicBezTo>
                  <a:cubicBezTo>
                    <a:pt x="2248" y="80"/>
                    <a:pt x="2432" y="156"/>
                    <a:pt x="2570" y="294"/>
                  </a:cubicBezTo>
                  <a:cubicBezTo>
                    <a:pt x="2709" y="432"/>
                    <a:pt x="2785" y="616"/>
                    <a:pt x="2785" y="812"/>
                  </a:cubicBezTo>
                  <a:cubicBezTo>
                    <a:pt x="2785" y="834"/>
                    <a:pt x="2803" y="852"/>
                    <a:pt x="2825" y="852"/>
                  </a:cubicBezTo>
                  <a:cubicBezTo>
                    <a:pt x="2847" y="852"/>
                    <a:pt x="2865" y="834"/>
                    <a:pt x="2865" y="812"/>
                  </a:cubicBezTo>
                  <a:cubicBezTo>
                    <a:pt x="2865" y="595"/>
                    <a:pt x="2780" y="391"/>
                    <a:pt x="2627" y="238"/>
                  </a:cubicBezTo>
                  <a:cubicBezTo>
                    <a:pt x="2474" y="84"/>
                    <a:pt x="2270" y="0"/>
                    <a:pt x="2053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95" y="0"/>
                    <a:pt x="391" y="84"/>
                    <a:pt x="238" y="238"/>
                  </a:cubicBezTo>
                  <a:cubicBezTo>
                    <a:pt x="84" y="391"/>
                    <a:pt x="0" y="595"/>
                    <a:pt x="0" y="812"/>
                  </a:cubicBezTo>
                  <a:cubicBezTo>
                    <a:pt x="0" y="834"/>
                    <a:pt x="18" y="852"/>
                    <a:pt x="40" y="852"/>
                  </a:cubicBezTo>
                  <a:cubicBezTo>
                    <a:pt x="62" y="852"/>
                    <a:pt x="80" y="834"/>
                    <a:pt x="80" y="81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E9633A9B-74B5-4FB9-AAAF-6EE4D5A5BE2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926776" y="2000780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78D10A2A-7A9C-421F-8D94-F2E7E28CA86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37615" y="2000780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B3AC6C06-2432-464A-AE5D-83F2B195BDB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48455" y="2000780"/>
              <a:ext cx="173490" cy="166072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63FCA73-BE48-4474-A334-A4A81386C494}"/>
              </a:ext>
            </a:extLst>
          </p:cNvPr>
          <p:cNvGrpSpPr/>
          <p:nvPr/>
        </p:nvGrpSpPr>
        <p:grpSpPr>
          <a:xfrm>
            <a:off x="7860014" y="1310490"/>
            <a:ext cx="684001" cy="251999"/>
            <a:chOff x="7892671" y="1295012"/>
            <a:chExt cx="684001" cy="251999"/>
          </a:xfrm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6BF5B8A0-F2A0-4276-94EE-A635CDCCBCF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12193" y="1082607"/>
              <a:ext cx="244958" cy="676809"/>
            </a:xfrm>
            <a:custGeom>
              <a:avLst/>
              <a:gdLst>
                <a:gd name="T0" fmla="*/ 772 w 2785"/>
                <a:gd name="T1" fmla="*/ 7211 h 7211"/>
                <a:gd name="T2" fmla="*/ 1392 w 2785"/>
                <a:gd name="T3" fmla="*/ 7211 h 7211"/>
                <a:gd name="T4" fmla="*/ 2013 w 2785"/>
                <a:gd name="T5" fmla="*/ 7211 h 7211"/>
                <a:gd name="T6" fmla="*/ 2559 w 2785"/>
                <a:gd name="T7" fmla="*/ 6984 h 7211"/>
                <a:gd name="T8" fmla="*/ 2785 w 2785"/>
                <a:gd name="T9" fmla="*/ 6439 h 7211"/>
                <a:gd name="T10" fmla="*/ 2785 w 2785"/>
                <a:gd name="T11" fmla="*/ 3605 h 7211"/>
                <a:gd name="T12" fmla="*/ 2785 w 2785"/>
                <a:gd name="T13" fmla="*/ 772 h 7211"/>
                <a:gd name="T14" fmla="*/ 2559 w 2785"/>
                <a:gd name="T15" fmla="*/ 226 h 7211"/>
                <a:gd name="T16" fmla="*/ 2013 w 2785"/>
                <a:gd name="T17" fmla="*/ 0 h 7211"/>
                <a:gd name="T18" fmla="*/ 1392 w 2785"/>
                <a:gd name="T19" fmla="*/ 0 h 7211"/>
                <a:gd name="T20" fmla="*/ 772 w 2785"/>
                <a:gd name="T21" fmla="*/ 0 h 7211"/>
                <a:gd name="T22" fmla="*/ 226 w 2785"/>
                <a:gd name="T23" fmla="*/ 226 h 7211"/>
                <a:gd name="T24" fmla="*/ 0 w 2785"/>
                <a:gd name="T25" fmla="*/ 772 h 7211"/>
                <a:gd name="T26" fmla="*/ 0 w 2785"/>
                <a:gd name="T27" fmla="*/ 3605 h 7211"/>
                <a:gd name="T28" fmla="*/ 0 w 2785"/>
                <a:gd name="T29" fmla="*/ 6439 h 7211"/>
                <a:gd name="T30" fmla="*/ 226 w 2785"/>
                <a:gd name="T31" fmla="*/ 6984 h 7211"/>
                <a:gd name="T32" fmla="*/ 772 w 2785"/>
                <a:gd name="T33" fmla="*/ 7211 h 7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5" h="7211">
                  <a:moveTo>
                    <a:pt x="772" y="7211"/>
                  </a:moveTo>
                  <a:cubicBezTo>
                    <a:pt x="1392" y="7211"/>
                    <a:pt x="1392" y="7211"/>
                    <a:pt x="1392" y="7211"/>
                  </a:cubicBezTo>
                  <a:cubicBezTo>
                    <a:pt x="2013" y="7211"/>
                    <a:pt x="2013" y="7211"/>
                    <a:pt x="2013" y="7211"/>
                  </a:cubicBezTo>
                  <a:cubicBezTo>
                    <a:pt x="2226" y="7211"/>
                    <a:pt x="2419" y="7124"/>
                    <a:pt x="2559" y="6984"/>
                  </a:cubicBezTo>
                  <a:cubicBezTo>
                    <a:pt x="2698" y="6845"/>
                    <a:pt x="2785" y="6652"/>
                    <a:pt x="2785" y="6439"/>
                  </a:cubicBezTo>
                  <a:cubicBezTo>
                    <a:pt x="2785" y="3605"/>
                    <a:pt x="2785" y="3605"/>
                    <a:pt x="2785" y="3605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0" y="3605"/>
                    <a:pt x="0" y="3605"/>
                    <a:pt x="0" y="3605"/>
                  </a:cubicBezTo>
                  <a:cubicBezTo>
                    <a:pt x="0" y="6439"/>
                    <a:pt x="0" y="6439"/>
                    <a:pt x="0" y="6439"/>
                  </a:cubicBezTo>
                  <a:cubicBezTo>
                    <a:pt x="0" y="6652"/>
                    <a:pt x="86" y="6845"/>
                    <a:pt x="226" y="6984"/>
                  </a:cubicBezTo>
                  <a:cubicBezTo>
                    <a:pt x="366" y="7124"/>
                    <a:pt x="559" y="7211"/>
                    <a:pt x="772" y="7211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7FE0CC06-293A-4CEC-8728-B6B6A585494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4323" y="1384737"/>
              <a:ext cx="244958" cy="72550"/>
            </a:xfrm>
            <a:custGeom>
              <a:avLst/>
              <a:gdLst>
                <a:gd name="T0" fmla="*/ 772 w 2785"/>
                <a:gd name="T1" fmla="*/ 772 h 772"/>
                <a:gd name="T2" fmla="*/ 1392 w 2785"/>
                <a:gd name="T3" fmla="*/ 772 h 772"/>
                <a:gd name="T4" fmla="*/ 2013 w 2785"/>
                <a:gd name="T5" fmla="*/ 772 h 772"/>
                <a:gd name="T6" fmla="*/ 2559 w 2785"/>
                <a:gd name="T7" fmla="*/ 545 h 772"/>
                <a:gd name="T8" fmla="*/ 2785 w 2785"/>
                <a:gd name="T9" fmla="*/ 0 h 772"/>
                <a:gd name="T10" fmla="*/ 0 w 2785"/>
                <a:gd name="T11" fmla="*/ 0 h 772"/>
                <a:gd name="T12" fmla="*/ 226 w 2785"/>
                <a:gd name="T13" fmla="*/ 545 h 772"/>
                <a:gd name="T14" fmla="*/ 772 w 2785"/>
                <a:gd name="T15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772" y="772"/>
                  </a:moveTo>
                  <a:cubicBezTo>
                    <a:pt x="1392" y="772"/>
                    <a:pt x="1392" y="772"/>
                    <a:pt x="1392" y="772"/>
                  </a:cubicBezTo>
                  <a:cubicBezTo>
                    <a:pt x="2013" y="772"/>
                    <a:pt x="2013" y="772"/>
                    <a:pt x="2013" y="772"/>
                  </a:cubicBezTo>
                  <a:cubicBezTo>
                    <a:pt x="2226" y="772"/>
                    <a:pt x="2419" y="685"/>
                    <a:pt x="2559" y="545"/>
                  </a:cubicBezTo>
                  <a:cubicBezTo>
                    <a:pt x="2698" y="406"/>
                    <a:pt x="2785" y="213"/>
                    <a:pt x="27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86" y="406"/>
                    <a:pt x="226" y="545"/>
                  </a:cubicBezTo>
                  <a:cubicBezTo>
                    <a:pt x="366" y="685"/>
                    <a:pt x="559" y="772"/>
                    <a:pt x="772" y="772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E4049D74-B978-49A5-8233-94290BD9A14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0639" y="1380979"/>
              <a:ext cx="251999" cy="80066"/>
            </a:xfrm>
            <a:custGeom>
              <a:avLst/>
              <a:gdLst>
                <a:gd name="T0" fmla="*/ 812 w 2865"/>
                <a:gd name="T1" fmla="*/ 852 h 852"/>
                <a:gd name="T2" fmla="*/ 2053 w 2865"/>
                <a:gd name="T3" fmla="*/ 852 h 852"/>
                <a:gd name="T4" fmla="*/ 2627 w 2865"/>
                <a:gd name="T5" fmla="*/ 614 h 852"/>
                <a:gd name="T6" fmla="*/ 2865 w 2865"/>
                <a:gd name="T7" fmla="*/ 40 h 852"/>
                <a:gd name="T8" fmla="*/ 2825 w 2865"/>
                <a:gd name="T9" fmla="*/ 0 h 852"/>
                <a:gd name="T10" fmla="*/ 2785 w 2865"/>
                <a:gd name="T11" fmla="*/ 40 h 852"/>
                <a:gd name="T12" fmla="*/ 2570 w 2865"/>
                <a:gd name="T13" fmla="*/ 557 h 852"/>
                <a:gd name="T14" fmla="*/ 2053 w 2865"/>
                <a:gd name="T15" fmla="*/ 772 h 852"/>
                <a:gd name="T16" fmla="*/ 812 w 2865"/>
                <a:gd name="T17" fmla="*/ 772 h 852"/>
                <a:gd name="T18" fmla="*/ 294 w 2865"/>
                <a:gd name="T19" fmla="*/ 557 h 852"/>
                <a:gd name="T20" fmla="*/ 80 w 2865"/>
                <a:gd name="T21" fmla="*/ 40 h 852"/>
                <a:gd name="T22" fmla="*/ 40 w 2865"/>
                <a:gd name="T23" fmla="*/ 0 h 852"/>
                <a:gd name="T24" fmla="*/ 0 w 2865"/>
                <a:gd name="T25" fmla="*/ 40 h 852"/>
                <a:gd name="T26" fmla="*/ 238 w 2865"/>
                <a:gd name="T27" fmla="*/ 614 h 852"/>
                <a:gd name="T28" fmla="*/ 812 w 2865"/>
                <a:gd name="T29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12" y="852"/>
                  </a:moveTo>
                  <a:cubicBezTo>
                    <a:pt x="2053" y="852"/>
                    <a:pt x="2053" y="852"/>
                    <a:pt x="2053" y="852"/>
                  </a:cubicBezTo>
                  <a:cubicBezTo>
                    <a:pt x="2270" y="852"/>
                    <a:pt x="2474" y="767"/>
                    <a:pt x="2627" y="614"/>
                  </a:cubicBezTo>
                  <a:cubicBezTo>
                    <a:pt x="2780" y="460"/>
                    <a:pt x="2865" y="256"/>
                    <a:pt x="2865" y="40"/>
                  </a:cubicBezTo>
                  <a:cubicBezTo>
                    <a:pt x="2865" y="17"/>
                    <a:pt x="2847" y="0"/>
                    <a:pt x="2825" y="0"/>
                  </a:cubicBezTo>
                  <a:cubicBezTo>
                    <a:pt x="2803" y="0"/>
                    <a:pt x="2785" y="17"/>
                    <a:pt x="2785" y="40"/>
                  </a:cubicBezTo>
                  <a:cubicBezTo>
                    <a:pt x="2785" y="235"/>
                    <a:pt x="2709" y="419"/>
                    <a:pt x="2570" y="557"/>
                  </a:cubicBezTo>
                  <a:cubicBezTo>
                    <a:pt x="2432" y="695"/>
                    <a:pt x="2248" y="772"/>
                    <a:pt x="2053" y="772"/>
                  </a:cubicBezTo>
                  <a:cubicBezTo>
                    <a:pt x="812" y="772"/>
                    <a:pt x="812" y="772"/>
                    <a:pt x="812" y="772"/>
                  </a:cubicBezTo>
                  <a:cubicBezTo>
                    <a:pt x="616" y="772"/>
                    <a:pt x="432" y="695"/>
                    <a:pt x="294" y="557"/>
                  </a:cubicBezTo>
                  <a:cubicBezTo>
                    <a:pt x="156" y="419"/>
                    <a:pt x="80" y="235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ubicBezTo>
                    <a:pt x="18" y="0"/>
                    <a:pt x="0" y="17"/>
                    <a:pt x="0" y="40"/>
                  </a:cubicBezTo>
                  <a:cubicBezTo>
                    <a:pt x="0" y="256"/>
                    <a:pt x="84" y="460"/>
                    <a:pt x="238" y="614"/>
                  </a:cubicBezTo>
                  <a:cubicBezTo>
                    <a:pt x="391" y="767"/>
                    <a:pt x="595" y="852"/>
                    <a:pt x="812" y="85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3013B626-A51D-4565-A385-6A83442272A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10064" y="1384737"/>
              <a:ext cx="244958" cy="72550"/>
            </a:xfrm>
            <a:custGeom>
              <a:avLst/>
              <a:gdLst>
                <a:gd name="T0" fmla="*/ 2559 w 2785"/>
                <a:gd name="T1" fmla="*/ 226 h 772"/>
                <a:gd name="T2" fmla="*/ 2013 w 2785"/>
                <a:gd name="T3" fmla="*/ 0 h 772"/>
                <a:gd name="T4" fmla="*/ 1392 w 2785"/>
                <a:gd name="T5" fmla="*/ 0 h 772"/>
                <a:gd name="T6" fmla="*/ 772 w 2785"/>
                <a:gd name="T7" fmla="*/ 0 h 772"/>
                <a:gd name="T8" fmla="*/ 226 w 2785"/>
                <a:gd name="T9" fmla="*/ 226 h 772"/>
                <a:gd name="T10" fmla="*/ 0 w 2785"/>
                <a:gd name="T11" fmla="*/ 772 h 772"/>
                <a:gd name="T12" fmla="*/ 2785 w 2785"/>
                <a:gd name="T13" fmla="*/ 772 h 772"/>
                <a:gd name="T14" fmla="*/ 2559 w 2785"/>
                <a:gd name="T15" fmla="*/ 226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2559" y="226"/>
                  </a:move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EFE9FF0A-403A-476A-AAE7-CEFCE79D1612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06542" y="1381141"/>
              <a:ext cx="251999" cy="79741"/>
            </a:xfrm>
            <a:custGeom>
              <a:avLst/>
              <a:gdLst>
                <a:gd name="T0" fmla="*/ 80 w 2865"/>
                <a:gd name="T1" fmla="*/ 812 h 852"/>
                <a:gd name="T2" fmla="*/ 294 w 2865"/>
                <a:gd name="T3" fmla="*/ 294 h 852"/>
                <a:gd name="T4" fmla="*/ 812 w 2865"/>
                <a:gd name="T5" fmla="*/ 80 h 852"/>
                <a:gd name="T6" fmla="*/ 2053 w 2865"/>
                <a:gd name="T7" fmla="*/ 80 h 852"/>
                <a:gd name="T8" fmla="*/ 2570 w 2865"/>
                <a:gd name="T9" fmla="*/ 294 h 852"/>
                <a:gd name="T10" fmla="*/ 2785 w 2865"/>
                <a:gd name="T11" fmla="*/ 812 h 852"/>
                <a:gd name="T12" fmla="*/ 2825 w 2865"/>
                <a:gd name="T13" fmla="*/ 852 h 852"/>
                <a:gd name="T14" fmla="*/ 2865 w 2865"/>
                <a:gd name="T15" fmla="*/ 812 h 852"/>
                <a:gd name="T16" fmla="*/ 2627 w 2865"/>
                <a:gd name="T17" fmla="*/ 238 h 852"/>
                <a:gd name="T18" fmla="*/ 2053 w 2865"/>
                <a:gd name="T19" fmla="*/ 0 h 852"/>
                <a:gd name="T20" fmla="*/ 812 w 2865"/>
                <a:gd name="T21" fmla="*/ 0 h 852"/>
                <a:gd name="T22" fmla="*/ 238 w 2865"/>
                <a:gd name="T23" fmla="*/ 238 h 852"/>
                <a:gd name="T24" fmla="*/ 0 w 2865"/>
                <a:gd name="T25" fmla="*/ 812 h 852"/>
                <a:gd name="T26" fmla="*/ 40 w 2865"/>
                <a:gd name="T27" fmla="*/ 852 h 852"/>
                <a:gd name="T28" fmla="*/ 80 w 2865"/>
                <a:gd name="T29" fmla="*/ 81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0" y="812"/>
                  </a:moveTo>
                  <a:cubicBezTo>
                    <a:pt x="80" y="616"/>
                    <a:pt x="156" y="432"/>
                    <a:pt x="294" y="294"/>
                  </a:cubicBezTo>
                  <a:cubicBezTo>
                    <a:pt x="432" y="156"/>
                    <a:pt x="616" y="80"/>
                    <a:pt x="812" y="80"/>
                  </a:cubicBezTo>
                  <a:cubicBezTo>
                    <a:pt x="2053" y="80"/>
                    <a:pt x="2053" y="80"/>
                    <a:pt x="2053" y="80"/>
                  </a:cubicBezTo>
                  <a:cubicBezTo>
                    <a:pt x="2248" y="80"/>
                    <a:pt x="2432" y="156"/>
                    <a:pt x="2570" y="294"/>
                  </a:cubicBezTo>
                  <a:cubicBezTo>
                    <a:pt x="2709" y="432"/>
                    <a:pt x="2785" y="616"/>
                    <a:pt x="2785" y="812"/>
                  </a:cubicBezTo>
                  <a:cubicBezTo>
                    <a:pt x="2785" y="834"/>
                    <a:pt x="2803" y="852"/>
                    <a:pt x="2825" y="852"/>
                  </a:cubicBezTo>
                  <a:cubicBezTo>
                    <a:pt x="2847" y="852"/>
                    <a:pt x="2865" y="834"/>
                    <a:pt x="2865" y="812"/>
                  </a:cubicBezTo>
                  <a:cubicBezTo>
                    <a:pt x="2865" y="595"/>
                    <a:pt x="2780" y="391"/>
                    <a:pt x="2627" y="238"/>
                  </a:cubicBezTo>
                  <a:cubicBezTo>
                    <a:pt x="2474" y="84"/>
                    <a:pt x="2270" y="0"/>
                    <a:pt x="2053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95" y="0"/>
                    <a:pt x="391" y="84"/>
                    <a:pt x="238" y="238"/>
                  </a:cubicBezTo>
                  <a:cubicBezTo>
                    <a:pt x="84" y="391"/>
                    <a:pt x="0" y="595"/>
                    <a:pt x="0" y="812"/>
                  </a:cubicBezTo>
                  <a:cubicBezTo>
                    <a:pt x="0" y="834"/>
                    <a:pt x="18" y="852"/>
                    <a:pt x="40" y="852"/>
                  </a:cubicBezTo>
                  <a:cubicBezTo>
                    <a:pt x="62" y="852"/>
                    <a:pt x="80" y="834"/>
                    <a:pt x="80" y="81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8DD814AB-4487-4768-9A77-FD425257588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926776" y="1337975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6BC002D5-598F-49CD-BD0C-7B118749E3E1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37615" y="1337975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EE26329B-23E7-4BE4-828F-C6C17FF5E0B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48455" y="1337975"/>
              <a:ext cx="173490" cy="166072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C082425-4ACE-496B-8F80-08422A24D22B}"/>
              </a:ext>
            </a:extLst>
          </p:cNvPr>
          <p:cNvGrpSpPr/>
          <p:nvPr/>
        </p:nvGrpSpPr>
        <p:grpSpPr>
          <a:xfrm>
            <a:off x="7860014" y="2614056"/>
            <a:ext cx="694074" cy="259025"/>
            <a:chOff x="7892671" y="2617569"/>
            <a:chExt cx="694074" cy="259025"/>
          </a:xfrm>
        </p:grpSpPr>
        <p:sp>
          <p:nvSpPr>
            <p:cNvPr id="77" name="Freeform 6">
              <a:extLst>
                <a:ext uri="{FF2B5EF4-FFF2-40B4-BE49-F238E27FC236}">
                  <a16:creationId xmlns:a16="http://schemas.microsoft.com/office/drawing/2014/main" id="{6AF8DAD4-9C5A-4EC9-ABA8-695CF1C5CB8F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25862" y="2415710"/>
              <a:ext cx="244958" cy="676809"/>
            </a:xfrm>
            <a:custGeom>
              <a:avLst/>
              <a:gdLst>
                <a:gd name="T0" fmla="*/ 772 w 2785"/>
                <a:gd name="T1" fmla="*/ 7211 h 7211"/>
                <a:gd name="T2" fmla="*/ 1392 w 2785"/>
                <a:gd name="T3" fmla="*/ 7211 h 7211"/>
                <a:gd name="T4" fmla="*/ 2013 w 2785"/>
                <a:gd name="T5" fmla="*/ 7211 h 7211"/>
                <a:gd name="T6" fmla="*/ 2559 w 2785"/>
                <a:gd name="T7" fmla="*/ 6984 h 7211"/>
                <a:gd name="T8" fmla="*/ 2785 w 2785"/>
                <a:gd name="T9" fmla="*/ 6439 h 7211"/>
                <a:gd name="T10" fmla="*/ 2785 w 2785"/>
                <a:gd name="T11" fmla="*/ 3605 h 7211"/>
                <a:gd name="T12" fmla="*/ 2785 w 2785"/>
                <a:gd name="T13" fmla="*/ 772 h 7211"/>
                <a:gd name="T14" fmla="*/ 2559 w 2785"/>
                <a:gd name="T15" fmla="*/ 226 h 7211"/>
                <a:gd name="T16" fmla="*/ 2013 w 2785"/>
                <a:gd name="T17" fmla="*/ 0 h 7211"/>
                <a:gd name="T18" fmla="*/ 1392 w 2785"/>
                <a:gd name="T19" fmla="*/ 0 h 7211"/>
                <a:gd name="T20" fmla="*/ 772 w 2785"/>
                <a:gd name="T21" fmla="*/ 0 h 7211"/>
                <a:gd name="T22" fmla="*/ 226 w 2785"/>
                <a:gd name="T23" fmla="*/ 226 h 7211"/>
                <a:gd name="T24" fmla="*/ 0 w 2785"/>
                <a:gd name="T25" fmla="*/ 772 h 7211"/>
                <a:gd name="T26" fmla="*/ 0 w 2785"/>
                <a:gd name="T27" fmla="*/ 3605 h 7211"/>
                <a:gd name="T28" fmla="*/ 0 w 2785"/>
                <a:gd name="T29" fmla="*/ 6439 h 7211"/>
                <a:gd name="T30" fmla="*/ 226 w 2785"/>
                <a:gd name="T31" fmla="*/ 6984 h 7211"/>
                <a:gd name="T32" fmla="*/ 772 w 2785"/>
                <a:gd name="T33" fmla="*/ 7211 h 7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5" h="7211">
                  <a:moveTo>
                    <a:pt x="772" y="7211"/>
                  </a:moveTo>
                  <a:cubicBezTo>
                    <a:pt x="1392" y="7211"/>
                    <a:pt x="1392" y="7211"/>
                    <a:pt x="1392" y="7211"/>
                  </a:cubicBezTo>
                  <a:cubicBezTo>
                    <a:pt x="2013" y="7211"/>
                    <a:pt x="2013" y="7211"/>
                    <a:pt x="2013" y="7211"/>
                  </a:cubicBezTo>
                  <a:cubicBezTo>
                    <a:pt x="2226" y="7211"/>
                    <a:pt x="2419" y="7124"/>
                    <a:pt x="2559" y="6984"/>
                  </a:cubicBezTo>
                  <a:cubicBezTo>
                    <a:pt x="2698" y="6845"/>
                    <a:pt x="2785" y="6652"/>
                    <a:pt x="2785" y="6439"/>
                  </a:cubicBezTo>
                  <a:cubicBezTo>
                    <a:pt x="2785" y="3605"/>
                    <a:pt x="2785" y="3605"/>
                    <a:pt x="2785" y="3605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0" y="3605"/>
                    <a:pt x="0" y="3605"/>
                    <a:pt x="0" y="3605"/>
                  </a:cubicBezTo>
                  <a:cubicBezTo>
                    <a:pt x="0" y="6439"/>
                    <a:pt x="0" y="6439"/>
                    <a:pt x="0" y="6439"/>
                  </a:cubicBezTo>
                  <a:cubicBezTo>
                    <a:pt x="0" y="6652"/>
                    <a:pt x="86" y="6845"/>
                    <a:pt x="226" y="6984"/>
                  </a:cubicBezTo>
                  <a:cubicBezTo>
                    <a:pt x="366" y="7124"/>
                    <a:pt x="559" y="7211"/>
                    <a:pt x="772" y="7211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78" name="Freeform 7">
              <a:extLst>
                <a:ext uri="{FF2B5EF4-FFF2-40B4-BE49-F238E27FC236}">
                  <a16:creationId xmlns:a16="http://schemas.microsoft.com/office/drawing/2014/main" id="{3AA57FBE-8C1F-4E57-A3B9-21088795B43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4323" y="2707294"/>
              <a:ext cx="244958" cy="72550"/>
            </a:xfrm>
            <a:custGeom>
              <a:avLst/>
              <a:gdLst>
                <a:gd name="T0" fmla="*/ 772 w 2785"/>
                <a:gd name="T1" fmla="*/ 772 h 772"/>
                <a:gd name="T2" fmla="*/ 1392 w 2785"/>
                <a:gd name="T3" fmla="*/ 772 h 772"/>
                <a:gd name="T4" fmla="*/ 2013 w 2785"/>
                <a:gd name="T5" fmla="*/ 772 h 772"/>
                <a:gd name="T6" fmla="*/ 2559 w 2785"/>
                <a:gd name="T7" fmla="*/ 545 h 772"/>
                <a:gd name="T8" fmla="*/ 2785 w 2785"/>
                <a:gd name="T9" fmla="*/ 0 h 772"/>
                <a:gd name="T10" fmla="*/ 0 w 2785"/>
                <a:gd name="T11" fmla="*/ 0 h 772"/>
                <a:gd name="T12" fmla="*/ 226 w 2785"/>
                <a:gd name="T13" fmla="*/ 545 h 772"/>
                <a:gd name="T14" fmla="*/ 772 w 2785"/>
                <a:gd name="T15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772" y="772"/>
                  </a:moveTo>
                  <a:cubicBezTo>
                    <a:pt x="1392" y="772"/>
                    <a:pt x="1392" y="772"/>
                    <a:pt x="1392" y="772"/>
                  </a:cubicBezTo>
                  <a:cubicBezTo>
                    <a:pt x="2013" y="772"/>
                    <a:pt x="2013" y="772"/>
                    <a:pt x="2013" y="772"/>
                  </a:cubicBezTo>
                  <a:cubicBezTo>
                    <a:pt x="2226" y="772"/>
                    <a:pt x="2419" y="685"/>
                    <a:pt x="2559" y="545"/>
                  </a:cubicBezTo>
                  <a:cubicBezTo>
                    <a:pt x="2698" y="406"/>
                    <a:pt x="2785" y="213"/>
                    <a:pt x="27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86" y="406"/>
                    <a:pt x="226" y="545"/>
                  </a:cubicBezTo>
                  <a:cubicBezTo>
                    <a:pt x="366" y="685"/>
                    <a:pt x="559" y="772"/>
                    <a:pt x="772" y="772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79" name="Freeform 8">
              <a:extLst>
                <a:ext uri="{FF2B5EF4-FFF2-40B4-BE49-F238E27FC236}">
                  <a16:creationId xmlns:a16="http://schemas.microsoft.com/office/drawing/2014/main" id="{79031F8F-212C-4E59-A7C0-C5154E21BB4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0639" y="2703536"/>
              <a:ext cx="251999" cy="80066"/>
            </a:xfrm>
            <a:custGeom>
              <a:avLst/>
              <a:gdLst>
                <a:gd name="T0" fmla="*/ 812 w 2865"/>
                <a:gd name="T1" fmla="*/ 852 h 852"/>
                <a:gd name="T2" fmla="*/ 2053 w 2865"/>
                <a:gd name="T3" fmla="*/ 852 h 852"/>
                <a:gd name="T4" fmla="*/ 2627 w 2865"/>
                <a:gd name="T5" fmla="*/ 614 h 852"/>
                <a:gd name="T6" fmla="*/ 2865 w 2865"/>
                <a:gd name="T7" fmla="*/ 40 h 852"/>
                <a:gd name="T8" fmla="*/ 2825 w 2865"/>
                <a:gd name="T9" fmla="*/ 0 h 852"/>
                <a:gd name="T10" fmla="*/ 2785 w 2865"/>
                <a:gd name="T11" fmla="*/ 40 h 852"/>
                <a:gd name="T12" fmla="*/ 2570 w 2865"/>
                <a:gd name="T13" fmla="*/ 557 h 852"/>
                <a:gd name="T14" fmla="*/ 2053 w 2865"/>
                <a:gd name="T15" fmla="*/ 772 h 852"/>
                <a:gd name="T16" fmla="*/ 812 w 2865"/>
                <a:gd name="T17" fmla="*/ 772 h 852"/>
                <a:gd name="T18" fmla="*/ 294 w 2865"/>
                <a:gd name="T19" fmla="*/ 557 h 852"/>
                <a:gd name="T20" fmla="*/ 80 w 2865"/>
                <a:gd name="T21" fmla="*/ 40 h 852"/>
                <a:gd name="T22" fmla="*/ 40 w 2865"/>
                <a:gd name="T23" fmla="*/ 0 h 852"/>
                <a:gd name="T24" fmla="*/ 0 w 2865"/>
                <a:gd name="T25" fmla="*/ 40 h 852"/>
                <a:gd name="T26" fmla="*/ 238 w 2865"/>
                <a:gd name="T27" fmla="*/ 614 h 852"/>
                <a:gd name="T28" fmla="*/ 812 w 2865"/>
                <a:gd name="T29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12" y="852"/>
                  </a:moveTo>
                  <a:cubicBezTo>
                    <a:pt x="2053" y="852"/>
                    <a:pt x="2053" y="852"/>
                    <a:pt x="2053" y="852"/>
                  </a:cubicBezTo>
                  <a:cubicBezTo>
                    <a:pt x="2270" y="852"/>
                    <a:pt x="2474" y="767"/>
                    <a:pt x="2627" y="614"/>
                  </a:cubicBezTo>
                  <a:cubicBezTo>
                    <a:pt x="2780" y="460"/>
                    <a:pt x="2865" y="256"/>
                    <a:pt x="2865" y="40"/>
                  </a:cubicBezTo>
                  <a:cubicBezTo>
                    <a:pt x="2865" y="17"/>
                    <a:pt x="2847" y="0"/>
                    <a:pt x="2825" y="0"/>
                  </a:cubicBezTo>
                  <a:cubicBezTo>
                    <a:pt x="2803" y="0"/>
                    <a:pt x="2785" y="17"/>
                    <a:pt x="2785" y="40"/>
                  </a:cubicBezTo>
                  <a:cubicBezTo>
                    <a:pt x="2785" y="235"/>
                    <a:pt x="2709" y="419"/>
                    <a:pt x="2570" y="557"/>
                  </a:cubicBezTo>
                  <a:cubicBezTo>
                    <a:pt x="2432" y="695"/>
                    <a:pt x="2248" y="772"/>
                    <a:pt x="2053" y="772"/>
                  </a:cubicBezTo>
                  <a:cubicBezTo>
                    <a:pt x="812" y="772"/>
                    <a:pt x="812" y="772"/>
                    <a:pt x="812" y="772"/>
                  </a:cubicBezTo>
                  <a:cubicBezTo>
                    <a:pt x="616" y="772"/>
                    <a:pt x="432" y="695"/>
                    <a:pt x="294" y="557"/>
                  </a:cubicBezTo>
                  <a:cubicBezTo>
                    <a:pt x="156" y="419"/>
                    <a:pt x="80" y="235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ubicBezTo>
                    <a:pt x="18" y="0"/>
                    <a:pt x="0" y="17"/>
                    <a:pt x="0" y="40"/>
                  </a:cubicBezTo>
                  <a:cubicBezTo>
                    <a:pt x="0" y="256"/>
                    <a:pt x="84" y="460"/>
                    <a:pt x="238" y="614"/>
                  </a:cubicBezTo>
                  <a:cubicBezTo>
                    <a:pt x="391" y="767"/>
                    <a:pt x="595" y="852"/>
                    <a:pt x="812" y="85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80" name="Freeform 9">
              <a:extLst>
                <a:ext uri="{FF2B5EF4-FFF2-40B4-BE49-F238E27FC236}">
                  <a16:creationId xmlns:a16="http://schemas.microsoft.com/office/drawing/2014/main" id="{690E31E3-79D6-486B-B8D6-CFA2A85CF41C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10064" y="2707294"/>
              <a:ext cx="244958" cy="72550"/>
            </a:xfrm>
            <a:custGeom>
              <a:avLst/>
              <a:gdLst>
                <a:gd name="T0" fmla="*/ 2559 w 2785"/>
                <a:gd name="T1" fmla="*/ 226 h 772"/>
                <a:gd name="T2" fmla="*/ 2013 w 2785"/>
                <a:gd name="T3" fmla="*/ 0 h 772"/>
                <a:gd name="T4" fmla="*/ 1392 w 2785"/>
                <a:gd name="T5" fmla="*/ 0 h 772"/>
                <a:gd name="T6" fmla="*/ 772 w 2785"/>
                <a:gd name="T7" fmla="*/ 0 h 772"/>
                <a:gd name="T8" fmla="*/ 226 w 2785"/>
                <a:gd name="T9" fmla="*/ 226 h 772"/>
                <a:gd name="T10" fmla="*/ 0 w 2785"/>
                <a:gd name="T11" fmla="*/ 772 h 772"/>
                <a:gd name="T12" fmla="*/ 2785 w 2785"/>
                <a:gd name="T13" fmla="*/ 772 h 772"/>
                <a:gd name="T14" fmla="*/ 2559 w 2785"/>
                <a:gd name="T15" fmla="*/ 226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2559" y="226"/>
                  </a:move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81" name="Freeform 10">
              <a:extLst>
                <a:ext uri="{FF2B5EF4-FFF2-40B4-BE49-F238E27FC236}">
                  <a16:creationId xmlns:a16="http://schemas.microsoft.com/office/drawing/2014/main" id="{360FD0E6-E468-4AFA-AD69-90B8F279F6F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06542" y="2703698"/>
              <a:ext cx="251999" cy="79741"/>
            </a:xfrm>
            <a:custGeom>
              <a:avLst/>
              <a:gdLst>
                <a:gd name="T0" fmla="*/ 80 w 2865"/>
                <a:gd name="T1" fmla="*/ 812 h 852"/>
                <a:gd name="T2" fmla="*/ 294 w 2865"/>
                <a:gd name="T3" fmla="*/ 294 h 852"/>
                <a:gd name="T4" fmla="*/ 812 w 2865"/>
                <a:gd name="T5" fmla="*/ 80 h 852"/>
                <a:gd name="T6" fmla="*/ 2053 w 2865"/>
                <a:gd name="T7" fmla="*/ 80 h 852"/>
                <a:gd name="T8" fmla="*/ 2570 w 2865"/>
                <a:gd name="T9" fmla="*/ 294 h 852"/>
                <a:gd name="T10" fmla="*/ 2785 w 2865"/>
                <a:gd name="T11" fmla="*/ 812 h 852"/>
                <a:gd name="T12" fmla="*/ 2825 w 2865"/>
                <a:gd name="T13" fmla="*/ 852 h 852"/>
                <a:gd name="T14" fmla="*/ 2865 w 2865"/>
                <a:gd name="T15" fmla="*/ 812 h 852"/>
                <a:gd name="T16" fmla="*/ 2627 w 2865"/>
                <a:gd name="T17" fmla="*/ 238 h 852"/>
                <a:gd name="T18" fmla="*/ 2053 w 2865"/>
                <a:gd name="T19" fmla="*/ 0 h 852"/>
                <a:gd name="T20" fmla="*/ 812 w 2865"/>
                <a:gd name="T21" fmla="*/ 0 h 852"/>
                <a:gd name="T22" fmla="*/ 238 w 2865"/>
                <a:gd name="T23" fmla="*/ 238 h 852"/>
                <a:gd name="T24" fmla="*/ 0 w 2865"/>
                <a:gd name="T25" fmla="*/ 812 h 852"/>
                <a:gd name="T26" fmla="*/ 40 w 2865"/>
                <a:gd name="T27" fmla="*/ 852 h 852"/>
                <a:gd name="T28" fmla="*/ 80 w 2865"/>
                <a:gd name="T29" fmla="*/ 81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0" y="812"/>
                  </a:moveTo>
                  <a:cubicBezTo>
                    <a:pt x="80" y="616"/>
                    <a:pt x="156" y="432"/>
                    <a:pt x="294" y="294"/>
                  </a:cubicBezTo>
                  <a:cubicBezTo>
                    <a:pt x="432" y="156"/>
                    <a:pt x="616" y="80"/>
                    <a:pt x="812" y="80"/>
                  </a:cubicBezTo>
                  <a:cubicBezTo>
                    <a:pt x="2053" y="80"/>
                    <a:pt x="2053" y="80"/>
                    <a:pt x="2053" y="80"/>
                  </a:cubicBezTo>
                  <a:cubicBezTo>
                    <a:pt x="2248" y="80"/>
                    <a:pt x="2432" y="156"/>
                    <a:pt x="2570" y="294"/>
                  </a:cubicBezTo>
                  <a:cubicBezTo>
                    <a:pt x="2709" y="432"/>
                    <a:pt x="2785" y="616"/>
                    <a:pt x="2785" y="812"/>
                  </a:cubicBezTo>
                  <a:cubicBezTo>
                    <a:pt x="2785" y="834"/>
                    <a:pt x="2803" y="852"/>
                    <a:pt x="2825" y="852"/>
                  </a:cubicBezTo>
                  <a:cubicBezTo>
                    <a:pt x="2847" y="852"/>
                    <a:pt x="2865" y="834"/>
                    <a:pt x="2865" y="812"/>
                  </a:cubicBezTo>
                  <a:cubicBezTo>
                    <a:pt x="2865" y="595"/>
                    <a:pt x="2780" y="391"/>
                    <a:pt x="2627" y="238"/>
                  </a:cubicBezTo>
                  <a:cubicBezTo>
                    <a:pt x="2474" y="84"/>
                    <a:pt x="2270" y="0"/>
                    <a:pt x="2053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95" y="0"/>
                    <a:pt x="391" y="84"/>
                    <a:pt x="238" y="238"/>
                  </a:cubicBezTo>
                  <a:cubicBezTo>
                    <a:pt x="84" y="391"/>
                    <a:pt x="0" y="595"/>
                    <a:pt x="0" y="812"/>
                  </a:cubicBezTo>
                  <a:cubicBezTo>
                    <a:pt x="0" y="834"/>
                    <a:pt x="18" y="852"/>
                    <a:pt x="40" y="852"/>
                  </a:cubicBezTo>
                  <a:cubicBezTo>
                    <a:pt x="62" y="852"/>
                    <a:pt x="80" y="834"/>
                    <a:pt x="80" y="81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A9D49001-8074-4969-A784-9D7F6BA1203E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926776" y="2660532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96CF1BCE-CFF1-412B-A033-80A905A4FD4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37615" y="2660532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A4DA59DF-C208-4CFA-ADEB-7A981E1A5E65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48455" y="2660532"/>
              <a:ext cx="173490" cy="166072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67AD0F2-BDE5-4C42-93B3-37FB2E2AF3C9}"/>
              </a:ext>
            </a:extLst>
          </p:cNvPr>
          <p:cNvGrpSpPr/>
          <p:nvPr/>
        </p:nvGrpSpPr>
        <p:grpSpPr>
          <a:xfrm>
            <a:off x="7860014" y="3252891"/>
            <a:ext cx="696734" cy="252000"/>
            <a:chOff x="7879938" y="3247202"/>
            <a:chExt cx="696734" cy="252000"/>
          </a:xfrm>
        </p:grpSpPr>
        <p:sp>
          <p:nvSpPr>
            <p:cNvPr id="94" name="Freeform 6">
              <a:extLst>
                <a:ext uri="{FF2B5EF4-FFF2-40B4-BE49-F238E27FC236}">
                  <a16:creationId xmlns:a16="http://schemas.microsoft.com/office/drawing/2014/main" id="{1DE418AF-8776-4B4E-8B49-27A908F791D8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095864" y="3031276"/>
              <a:ext cx="244958" cy="676809"/>
            </a:xfrm>
            <a:custGeom>
              <a:avLst/>
              <a:gdLst>
                <a:gd name="T0" fmla="*/ 772 w 2785"/>
                <a:gd name="T1" fmla="*/ 7211 h 7211"/>
                <a:gd name="T2" fmla="*/ 1392 w 2785"/>
                <a:gd name="T3" fmla="*/ 7211 h 7211"/>
                <a:gd name="T4" fmla="*/ 2013 w 2785"/>
                <a:gd name="T5" fmla="*/ 7211 h 7211"/>
                <a:gd name="T6" fmla="*/ 2559 w 2785"/>
                <a:gd name="T7" fmla="*/ 6984 h 7211"/>
                <a:gd name="T8" fmla="*/ 2785 w 2785"/>
                <a:gd name="T9" fmla="*/ 6439 h 7211"/>
                <a:gd name="T10" fmla="*/ 2785 w 2785"/>
                <a:gd name="T11" fmla="*/ 3605 h 7211"/>
                <a:gd name="T12" fmla="*/ 2785 w 2785"/>
                <a:gd name="T13" fmla="*/ 772 h 7211"/>
                <a:gd name="T14" fmla="*/ 2559 w 2785"/>
                <a:gd name="T15" fmla="*/ 226 h 7211"/>
                <a:gd name="T16" fmla="*/ 2013 w 2785"/>
                <a:gd name="T17" fmla="*/ 0 h 7211"/>
                <a:gd name="T18" fmla="*/ 1392 w 2785"/>
                <a:gd name="T19" fmla="*/ 0 h 7211"/>
                <a:gd name="T20" fmla="*/ 772 w 2785"/>
                <a:gd name="T21" fmla="*/ 0 h 7211"/>
                <a:gd name="T22" fmla="*/ 226 w 2785"/>
                <a:gd name="T23" fmla="*/ 226 h 7211"/>
                <a:gd name="T24" fmla="*/ 0 w 2785"/>
                <a:gd name="T25" fmla="*/ 772 h 7211"/>
                <a:gd name="T26" fmla="*/ 0 w 2785"/>
                <a:gd name="T27" fmla="*/ 3605 h 7211"/>
                <a:gd name="T28" fmla="*/ 0 w 2785"/>
                <a:gd name="T29" fmla="*/ 6439 h 7211"/>
                <a:gd name="T30" fmla="*/ 226 w 2785"/>
                <a:gd name="T31" fmla="*/ 6984 h 7211"/>
                <a:gd name="T32" fmla="*/ 772 w 2785"/>
                <a:gd name="T33" fmla="*/ 7211 h 7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5" h="7211">
                  <a:moveTo>
                    <a:pt x="772" y="7211"/>
                  </a:moveTo>
                  <a:cubicBezTo>
                    <a:pt x="1392" y="7211"/>
                    <a:pt x="1392" y="7211"/>
                    <a:pt x="1392" y="7211"/>
                  </a:cubicBezTo>
                  <a:cubicBezTo>
                    <a:pt x="2013" y="7211"/>
                    <a:pt x="2013" y="7211"/>
                    <a:pt x="2013" y="7211"/>
                  </a:cubicBezTo>
                  <a:cubicBezTo>
                    <a:pt x="2226" y="7211"/>
                    <a:pt x="2419" y="7124"/>
                    <a:pt x="2559" y="6984"/>
                  </a:cubicBezTo>
                  <a:cubicBezTo>
                    <a:pt x="2698" y="6845"/>
                    <a:pt x="2785" y="6652"/>
                    <a:pt x="2785" y="6439"/>
                  </a:cubicBezTo>
                  <a:cubicBezTo>
                    <a:pt x="2785" y="3605"/>
                    <a:pt x="2785" y="3605"/>
                    <a:pt x="2785" y="3605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0" y="3605"/>
                    <a:pt x="0" y="3605"/>
                    <a:pt x="0" y="3605"/>
                  </a:cubicBezTo>
                  <a:cubicBezTo>
                    <a:pt x="0" y="6439"/>
                    <a:pt x="0" y="6439"/>
                    <a:pt x="0" y="6439"/>
                  </a:cubicBezTo>
                  <a:cubicBezTo>
                    <a:pt x="0" y="6652"/>
                    <a:pt x="86" y="6845"/>
                    <a:pt x="226" y="6984"/>
                  </a:cubicBezTo>
                  <a:cubicBezTo>
                    <a:pt x="366" y="7124"/>
                    <a:pt x="559" y="7211"/>
                    <a:pt x="772" y="7211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95" name="Freeform 7">
              <a:extLst>
                <a:ext uri="{FF2B5EF4-FFF2-40B4-BE49-F238E27FC236}">
                  <a16:creationId xmlns:a16="http://schemas.microsoft.com/office/drawing/2014/main" id="{DD5449FE-6F5C-452D-B732-0863C3C2BC3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4323" y="3336928"/>
              <a:ext cx="244958" cy="72550"/>
            </a:xfrm>
            <a:custGeom>
              <a:avLst/>
              <a:gdLst>
                <a:gd name="T0" fmla="*/ 772 w 2785"/>
                <a:gd name="T1" fmla="*/ 772 h 772"/>
                <a:gd name="T2" fmla="*/ 1392 w 2785"/>
                <a:gd name="T3" fmla="*/ 772 h 772"/>
                <a:gd name="T4" fmla="*/ 2013 w 2785"/>
                <a:gd name="T5" fmla="*/ 772 h 772"/>
                <a:gd name="T6" fmla="*/ 2559 w 2785"/>
                <a:gd name="T7" fmla="*/ 545 h 772"/>
                <a:gd name="T8" fmla="*/ 2785 w 2785"/>
                <a:gd name="T9" fmla="*/ 0 h 772"/>
                <a:gd name="T10" fmla="*/ 0 w 2785"/>
                <a:gd name="T11" fmla="*/ 0 h 772"/>
                <a:gd name="T12" fmla="*/ 226 w 2785"/>
                <a:gd name="T13" fmla="*/ 545 h 772"/>
                <a:gd name="T14" fmla="*/ 772 w 2785"/>
                <a:gd name="T15" fmla="*/ 772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772" y="772"/>
                  </a:moveTo>
                  <a:cubicBezTo>
                    <a:pt x="1392" y="772"/>
                    <a:pt x="1392" y="772"/>
                    <a:pt x="1392" y="772"/>
                  </a:cubicBezTo>
                  <a:cubicBezTo>
                    <a:pt x="2013" y="772"/>
                    <a:pt x="2013" y="772"/>
                    <a:pt x="2013" y="772"/>
                  </a:cubicBezTo>
                  <a:cubicBezTo>
                    <a:pt x="2226" y="772"/>
                    <a:pt x="2419" y="685"/>
                    <a:pt x="2559" y="545"/>
                  </a:cubicBezTo>
                  <a:cubicBezTo>
                    <a:pt x="2698" y="406"/>
                    <a:pt x="2785" y="213"/>
                    <a:pt x="278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13"/>
                    <a:pt x="86" y="406"/>
                    <a:pt x="226" y="545"/>
                  </a:cubicBezTo>
                  <a:cubicBezTo>
                    <a:pt x="366" y="685"/>
                    <a:pt x="559" y="772"/>
                    <a:pt x="772" y="772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96" name="Freeform 8">
              <a:extLst>
                <a:ext uri="{FF2B5EF4-FFF2-40B4-BE49-F238E27FC236}">
                  <a16:creationId xmlns:a16="http://schemas.microsoft.com/office/drawing/2014/main" id="{A2DA8A85-4305-4B8F-BC7A-ACFF28EA485B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410639" y="3333170"/>
              <a:ext cx="251999" cy="80066"/>
            </a:xfrm>
            <a:custGeom>
              <a:avLst/>
              <a:gdLst>
                <a:gd name="T0" fmla="*/ 812 w 2865"/>
                <a:gd name="T1" fmla="*/ 852 h 852"/>
                <a:gd name="T2" fmla="*/ 2053 w 2865"/>
                <a:gd name="T3" fmla="*/ 852 h 852"/>
                <a:gd name="T4" fmla="*/ 2627 w 2865"/>
                <a:gd name="T5" fmla="*/ 614 h 852"/>
                <a:gd name="T6" fmla="*/ 2865 w 2865"/>
                <a:gd name="T7" fmla="*/ 40 h 852"/>
                <a:gd name="T8" fmla="*/ 2825 w 2865"/>
                <a:gd name="T9" fmla="*/ 0 h 852"/>
                <a:gd name="T10" fmla="*/ 2785 w 2865"/>
                <a:gd name="T11" fmla="*/ 40 h 852"/>
                <a:gd name="T12" fmla="*/ 2570 w 2865"/>
                <a:gd name="T13" fmla="*/ 557 h 852"/>
                <a:gd name="T14" fmla="*/ 2053 w 2865"/>
                <a:gd name="T15" fmla="*/ 772 h 852"/>
                <a:gd name="T16" fmla="*/ 812 w 2865"/>
                <a:gd name="T17" fmla="*/ 772 h 852"/>
                <a:gd name="T18" fmla="*/ 294 w 2865"/>
                <a:gd name="T19" fmla="*/ 557 h 852"/>
                <a:gd name="T20" fmla="*/ 80 w 2865"/>
                <a:gd name="T21" fmla="*/ 40 h 852"/>
                <a:gd name="T22" fmla="*/ 40 w 2865"/>
                <a:gd name="T23" fmla="*/ 0 h 852"/>
                <a:gd name="T24" fmla="*/ 0 w 2865"/>
                <a:gd name="T25" fmla="*/ 40 h 852"/>
                <a:gd name="T26" fmla="*/ 238 w 2865"/>
                <a:gd name="T27" fmla="*/ 614 h 852"/>
                <a:gd name="T28" fmla="*/ 812 w 2865"/>
                <a:gd name="T29" fmla="*/ 85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12" y="852"/>
                  </a:moveTo>
                  <a:cubicBezTo>
                    <a:pt x="2053" y="852"/>
                    <a:pt x="2053" y="852"/>
                    <a:pt x="2053" y="852"/>
                  </a:cubicBezTo>
                  <a:cubicBezTo>
                    <a:pt x="2270" y="852"/>
                    <a:pt x="2474" y="767"/>
                    <a:pt x="2627" y="614"/>
                  </a:cubicBezTo>
                  <a:cubicBezTo>
                    <a:pt x="2780" y="460"/>
                    <a:pt x="2865" y="256"/>
                    <a:pt x="2865" y="40"/>
                  </a:cubicBezTo>
                  <a:cubicBezTo>
                    <a:pt x="2865" y="17"/>
                    <a:pt x="2847" y="0"/>
                    <a:pt x="2825" y="0"/>
                  </a:cubicBezTo>
                  <a:cubicBezTo>
                    <a:pt x="2803" y="0"/>
                    <a:pt x="2785" y="17"/>
                    <a:pt x="2785" y="40"/>
                  </a:cubicBezTo>
                  <a:cubicBezTo>
                    <a:pt x="2785" y="235"/>
                    <a:pt x="2709" y="419"/>
                    <a:pt x="2570" y="557"/>
                  </a:cubicBezTo>
                  <a:cubicBezTo>
                    <a:pt x="2432" y="695"/>
                    <a:pt x="2248" y="772"/>
                    <a:pt x="2053" y="772"/>
                  </a:cubicBezTo>
                  <a:cubicBezTo>
                    <a:pt x="812" y="772"/>
                    <a:pt x="812" y="772"/>
                    <a:pt x="812" y="772"/>
                  </a:cubicBezTo>
                  <a:cubicBezTo>
                    <a:pt x="616" y="772"/>
                    <a:pt x="432" y="695"/>
                    <a:pt x="294" y="557"/>
                  </a:cubicBezTo>
                  <a:cubicBezTo>
                    <a:pt x="156" y="419"/>
                    <a:pt x="80" y="235"/>
                    <a:pt x="80" y="40"/>
                  </a:cubicBezTo>
                  <a:cubicBezTo>
                    <a:pt x="80" y="17"/>
                    <a:pt x="62" y="0"/>
                    <a:pt x="40" y="0"/>
                  </a:cubicBezTo>
                  <a:cubicBezTo>
                    <a:pt x="18" y="0"/>
                    <a:pt x="0" y="17"/>
                    <a:pt x="0" y="40"/>
                  </a:cubicBezTo>
                  <a:cubicBezTo>
                    <a:pt x="0" y="256"/>
                    <a:pt x="84" y="460"/>
                    <a:pt x="238" y="614"/>
                  </a:cubicBezTo>
                  <a:cubicBezTo>
                    <a:pt x="391" y="767"/>
                    <a:pt x="595" y="852"/>
                    <a:pt x="812" y="85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98" name="Freeform 9">
              <a:extLst>
                <a:ext uri="{FF2B5EF4-FFF2-40B4-BE49-F238E27FC236}">
                  <a16:creationId xmlns:a16="http://schemas.microsoft.com/office/drawing/2014/main" id="{DE00980C-5CB8-49C3-9C2C-B41ACD882C1A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10064" y="3336928"/>
              <a:ext cx="244958" cy="72550"/>
            </a:xfrm>
            <a:custGeom>
              <a:avLst/>
              <a:gdLst>
                <a:gd name="T0" fmla="*/ 2559 w 2785"/>
                <a:gd name="T1" fmla="*/ 226 h 772"/>
                <a:gd name="T2" fmla="*/ 2013 w 2785"/>
                <a:gd name="T3" fmla="*/ 0 h 772"/>
                <a:gd name="T4" fmla="*/ 1392 w 2785"/>
                <a:gd name="T5" fmla="*/ 0 h 772"/>
                <a:gd name="T6" fmla="*/ 772 w 2785"/>
                <a:gd name="T7" fmla="*/ 0 h 772"/>
                <a:gd name="T8" fmla="*/ 226 w 2785"/>
                <a:gd name="T9" fmla="*/ 226 h 772"/>
                <a:gd name="T10" fmla="*/ 0 w 2785"/>
                <a:gd name="T11" fmla="*/ 772 h 772"/>
                <a:gd name="T12" fmla="*/ 2785 w 2785"/>
                <a:gd name="T13" fmla="*/ 772 h 772"/>
                <a:gd name="T14" fmla="*/ 2559 w 2785"/>
                <a:gd name="T15" fmla="*/ 226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85" h="772">
                  <a:moveTo>
                    <a:pt x="2559" y="226"/>
                  </a:moveTo>
                  <a:cubicBezTo>
                    <a:pt x="2419" y="86"/>
                    <a:pt x="2226" y="0"/>
                    <a:pt x="2013" y="0"/>
                  </a:cubicBezTo>
                  <a:cubicBezTo>
                    <a:pt x="1392" y="0"/>
                    <a:pt x="1392" y="0"/>
                    <a:pt x="1392" y="0"/>
                  </a:cubicBezTo>
                  <a:cubicBezTo>
                    <a:pt x="772" y="0"/>
                    <a:pt x="772" y="0"/>
                    <a:pt x="772" y="0"/>
                  </a:cubicBezTo>
                  <a:cubicBezTo>
                    <a:pt x="559" y="0"/>
                    <a:pt x="366" y="86"/>
                    <a:pt x="226" y="226"/>
                  </a:cubicBezTo>
                  <a:cubicBezTo>
                    <a:pt x="86" y="366"/>
                    <a:pt x="0" y="559"/>
                    <a:pt x="0" y="772"/>
                  </a:cubicBezTo>
                  <a:cubicBezTo>
                    <a:pt x="2785" y="772"/>
                    <a:pt x="2785" y="772"/>
                    <a:pt x="2785" y="772"/>
                  </a:cubicBezTo>
                  <a:cubicBezTo>
                    <a:pt x="2785" y="559"/>
                    <a:pt x="2698" y="366"/>
                    <a:pt x="2559" y="226"/>
                  </a:cubicBezTo>
                  <a:close/>
                </a:path>
              </a:pathLst>
            </a:custGeom>
            <a:solidFill>
              <a:srgbClr val="F1F2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9AD33151-30E5-4278-8343-65EA6FBA5449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806542" y="3333332"/>
              <a:ext cx="251999" cy="79741"/>
            </a:xfrm>
            <a:custGeom>
              <a:avLst/>
              <a:gdLst>
                <a:gd name="T0" fmla="*/ 80 w 2865"/>
                <a:gd name="T1" fmla="*/ 812 h 852"/>
                <a:gd name="T2" fmla="*/ 294 w 2865"/>
                <a:gd name="T3" fmla="*/ 294 h 852"/>
                <a:gd name="T4" fmla="*/ 812 w 2865"/>
                <a:gd name="T5" fmla="*/ 80 h 852"/>
                <a:gd name="T6" fmla="*/ 2053 w 2865"/>
                <a:gd name="T7" fmla="*/ 80 h 852"/>
                <a:gd name="T8" fmla="*/ 2570 w 2865"/>
                <a:gd name="T9" fmla="*/ 294 h 852"/>
                <a:gd name="T10" fmla="*/ 2785 w 2865"/>
                <a:gd name="T11" fmla="*/ 812 h 852"/>
                <a:gd name="T12" fmla="*/ 2825 w 2865"/>
                <a:gd name="T13" fmla="*/ 852 h 852"/>
                <a:gd name="T14" fmla="*/ 2865 w 2865"/>
                <a:gd name="T15" fmla="*/ 812 h 852"/>
                <a:gd name="T16" fmla="*/ 2627 w 2865"/>
                <a:gd name="T17" fmla="*/ 238 h 852"/>
                <a:gd name="T18" fmla="*/ 2053 w 2865"/>
                <a:gd name="T19" fmla="*/ 0 h 852"/>
                <a:gd name="T20" fmla="*/ 812 w 2865"/>
                <a:gd name="T21" fmla="*/ 0 h 852"/>
                <a:gd name="T22" fmla="*/ 238 w 2865"/>
                <a:gd name="T23" fmla="*/ 238 h 852"/>
                <a:gd name="T24" fmla="*/ 0 w 2865"/>
                <a:gd name="T25" fmla="*/ 812 h 852"/>
                <a:gd name="T26" fmla="*/ 40 w 2865"/>
                <a:gd name="T27" fmla="*/ 852 h 852"/>
                <a:gd name="T28" fmla="*/ 80 w 2865"/>
                <a:gd name="T29" fmla="*/ 812 h 8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65" h="852">
                  <a:moveTo>
                    <a:pt x="80" y="812"/>
                  </a:moveTo>
                  <a:cubicBezTo>
                    <a:pt x="80" y="616"/>
                    <a:pt x="156" y="432"/>
                    <a:pt x="294" y="294"/>
                  </a:cubicBezTo>
                  <a:cubicBezTo>
                    <a:pt x="432" y="156"/>
                    <a:pt x="616" y="80"/>
                    <a:pt x="812" y="80"/>
                  </a:cubicBezTo>
                  <a:cubicBezTo>
                    <a:pt x="2053" y="80"/>
                    <a:pt x="2053" y="80"/>
                    <a:pt x="2053" y="80"/>
                  </a:cubicBezTo>
                  <a:cubicBezTo>
                    <a:pt x="2248" y="80"/>
                    <a:pt x="2432" y="156"/>
                    <a:pt x="2570" y="294"/>
                  </a:cubicBezTo>
                  <a:cubicBezTo>
                    <a:pt x="2709" y="432"/>
                    <a:pt x="2785" y="616"/>
                    <a:pt x="2785" y="812"/>
                  </a:cubicBezTo>
                  <a:cubicBezTo>
                    <a:pt x="2785" y="834"/>
                    <a:pt x="2803" y="852"/>
                    <a:pt x="2825" y="852"/>
                  </a:cubicBezTo>
                  <a:cubicBezTo>
                    <a:pt x="2847" y="852"/>
                    <a:pt x="2865" y="834"/>
                    <a:pt x="2865" y="812"/>
                  </a:cubicBezTo>
                  <a:cubicBezTo>
                    <a:pt x="2865" y="595"/>
                    <a:pt x="2780" y="391"/>
                    <a:pt x="2627" y="238"/>
                  </a:cubicBezTo>
                  <a:cubicBezTo>
                    <a:pt x="2474" y="84"/>
                    <a:pt x="2270" y="0"/>
                    <a:pt x="2053" y="0"/>
                  </a:cubicBezTo>
                  <a:cubicBezTo>
                    <a:pt x="812" y="0"/>
                    <a:pt x="812" y="0"/>
                    <a:pt x="812" y="0"/>
                  </a:cubicBezTo>
                  <a:cubicBezTo>
                    <a:pt x="595" y="0"/>
                    <a:pt x="391" y="84"/>
                    <a:pt x="238" y="238"/>
                  </a:cubicBezTo>
                  <a:cubicBezTo>
                    <a:pt x="84" y="391"/>
                    <a:pt x="0" y="595"/>
                    <a:pt x="0" y="812"/>
                  </a:cubicBezTo>
                  <a:cubicBezTo>
                    <a:pt x="0" y="834"/>
                    <a:pt x="18" y="852"/>
                    <a:pt x="40" y="852"/>
                  </a:cubicBezTo>
                  <a:cubicBezTo>
                    <a:pt x="62" y="852"/>
                    <a:pt x="80" y="834"/>
                    <a:pt x="80" y="812"/>
                  </a:cubicBez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100" dirty="0">
                <a:latin typeface="+mn-lt"/>
              </a:endParaRPr>
            </a:p>
          </p:txBody>
        </p:sp>
        <p:sp>
          <p:nvSpPr>
            <p:cNvPr id="103" name="Oval 102">
              <a:extLst>
                <a:ext uri="{FF2B5EF4-FFF2-40B4-BE49-F238E27FC236}">
                  <a16:creationId xmlns:a16="http://schemas.microsoft.com/office/drawing/2014/main" id="{29917406-7569-4DE2-8EEA-96C3C7B9075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7926776" y="3290166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l" defTabSz="914400" rtl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n-lt"/>
              </a:endParaRPr>
            </a:p>
          </p:txBody>
        </p:sp>
        <p:sp>
          <p:nvSpPr>
            <p:cNvPr id="104" name="Oval 103">
              <a:extLst>
                <a:ext uri="{FF2B5EF4-FFF2-40B4-BE49-F238E27FC236}">
                  <a16:creationId xmlns:a16="http://schemas.microsoft.com/office/drawing/2014/main" id="{D163A19A-9998-49E4-9347-759C26690636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137615" y="3290166"/>
              <a:ext cx="173490" cy="16607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  <p:sp>
          <p:nvSpPr>
            <p:cNvPr id="105" name="Oval 104">
              <a:extLst>
                <a:ext uri="{FF2B5EF4-FFF2-40B4-BE49-F238E27FC236}">
                  <a16:creationId xmlns:a16="http://schemas.microsoft.com/office/drawing/2014/main" id="{5B7DCC99-2A42-43A4-A1FE-472CB6848817}"/>
                </a:ext>
              </a:extLst>
            </p:cNvPr>
            <p:cNvSpPr>
              <a:spLocks/>
            </p:cNvSpPr>
            <p:nvPr/>
          </p:nvSpPr>
          <p:spPr bwMode="auto">
            <a:xfrm rot="16200000">
              <a:off x="8348455" y="3290166"/>
              <a:ext cx="173490" cy="166072"/>
            </a:xfrm>
            <a:prstGeom prst="ellipse">
              <a:avLst/>
            </a:prstGeom>
            <a:solidFill>
              <a:srgbClr val="00B050"/>
            </a:solidFill>
            <a:ln w="952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hangingPunct="0"/>
              <a:endParaRPr lang="en-US" sz="1100" dirty="0">
                <a:latin typeface="+mn-lt"/>
              </a:endParaRPr>
            </a:p>
          </p:txBody>
        </p:sp>
      </p:grpSp>
      <p:sp>
        <p:nvSpPr>
          <p:cNvPr id="107" name="TextBox 106">
            <a:extLst>
              <a:ext uri="{FF2B5EF4-FFF2-40B4-BE49-F238E27FC236}">
                <a16:creationId xmlns:a16="http://schemas.microsoft.com/office/drawing/2014/main" id="{2F30238A-9FFB-4900-BAD0-FBFE97229F2A}"/>
              </a:ext>
            </a:extLst>
          </p:cNvPr>
          <p:cNvSpPr txBox="1"/>
          <p:nvPr/>
        </p:nvSpPr>
        <p:spPr>
          <a:xfrm>
            <a:off x="8044650" y="939485"/>
            <a:ext cx="31258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900" b="1" dirty="0">
                <a:solidFill>
                  <a:schemeClr val="accent4"/>
                </a:solidFill>
              </a:rPr>
              <a:t>Status</a:t>
            </a:r>
          </a:p>
        </p:txBody>
      </p:sp>
      <p:pic>
        <p:nvPicPr>
          <p:cNvPr id="108" name="Graphic 107">
            <a:extLst>
              <a:ext uri="{FF2B5EF4-FFF2-40B4-BE49-F238E27FC236}">
                <a16:creationId xmlns:a16="http://schemas.microsoft.com/office/drawing/2014/main" id="{B2D2CD08-2D95-44B0-9078-F853983955E4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rcRect l="33559" t="13900" r="30906" b="14497"/>
          <a:stretch/>
        </p:blipFill>
        <p:spPr>
          <a:xfrm>
            <a:off x="7871851" y="803133"/>
            <a:ext cx="153367" cy="274851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C972F352-71AF-4530-9473-3F8360DAF132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20796" t="20796" r="17149" b="17149"/>
          <a:stretch/>
        </p:blipFill>
        <p:spPr>
          <a:xfrm>
            <a:off x="5102354" y="845764"/>
            <a:ext cx="261093" cy="232220"/>
          </a:xfrm>
          <a:prstGeom prst="rect">
            <a:avLst/>
          </a:prstGeom>
        </p:spPr>
      </p:pic>
      <p:sp>
        <p:nvSpPr>
          <p:cNvPr id="112" name="Textfeld 38">
            <a:extLst>
              <a:ext uri="{FF2B5EF4-FFF2-40B4-BE49-F238E27FC236}">
                <a16:creationId xmlns:a16="http://schemas.microsoft.com/office/drawing/2014/main" id="{DEFAED2E-3A60-484A-936C-B5B0CDAD2558}"/>
              </a:ext>
            </a:extLst>
          </p:cNvPr>
          <p:cNvSpPr txBox="1"/>
          <p:nvPr/>
        </p:nvSpPr>
        <p:spPr>
          <a:xfrm>
            <a:off x="764710" y="4843042"/>
            <a:ext cx="1814599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Keine Verzögerung, 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geringe Eintrittswahrscheinlichkeit der Risiken</a:t>
            </a:r>
          </a:p>
        </p:txBody>
      </p:sp>
      <p:sp>
        <p:nvSpPr>
          <p:cNvPr id="113" name="Textfeld 41">
            <a:extLst>
              <a:ext uri="{FF2B5EF4-FFF2-40B4-BE49-F238E27FC236}">
                <a16:creationId xmlns:a16="http://schemas.microsoft.com/office/drawing/2014/main" id="{4AF6C9B8-7388-4A97-B9E1-0CF14BAB1FAD}"/>
              </a:ext>
            </a:extLst>
          </p:cNvPr>
          <p:cNvSpPr txBox="1"/>
          <p:nvPr/>
        </p:nvSpPr>
        <p:spPr>
          <a:xfrm>
            <a:off x="2890801" y="4843042"/>
            <a:ext cx="1899559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Potentielle Verzögerung, 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mittlere  Eintrittswahrscheinlichkeit  der Risiken </a:t>
            </a:r>
          </a:p>
        </p:txBody>
      </p:sp>
      <p:sp>
        <p:nvSpPr>
          <p:cNvPr id="114" name="Textfeld 45">
            <a:extLst>
              <a:ext uri="{FF2B5EF4-FFF2-40B4-BE49-F238E27FC236}">
                <a16:creationId xmlns:a16="http://schemas.microsoft.com/office/drawing/2014/main" id="{024BD518-1D15-4A59-80FD-7D469455594E}"/>
              </a:ext>
            </a:extLst>
          </p:cNvPr>
          <p:cNvSpPr txBox="1"/>
          <p:nvPr/>
        </p:nvSpPr>
        <p:spPr>
          <a:xfrm>
            <a:off x="5101850" y="4843042"/>
            <a:ext cx="3576300" cy="2308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Starke Verzögerung, </a:t>
            </a:r>
          </a:p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de-DE" sz="750" dirty="0">
                <a:solidFill>
                  <a:prstClr val="black"/>
                </a:solidFill>
                <a:latin typeface="+mn-lt"/>
              </a:rPr>
              <a:t>hohe Eintrittswahrscheinlichkeit der Risiken; Projekterfolg wesentlich gefährdet (Eskalation)</a:t>
            </a:r>
          </a:p>
        </p:txBody>
      </p:sp>
      <p:sp>
        <p:nvSpPr>
          <p:cNvPr id="115" name="Oval 114">
            <a:extLst>
              <a:ext uri="{FF2B5EF4-FFF2-40B4-BE49-F238E27FC236}">
                <a16:creationId xmlns:a16="http://schemas.microsoft.com/office/drawing/2014/main" id="{D20C93A5-97B2-4C69-9EDC-EDA483F7D904}"/>
              </a:ext>
            </a:extLst>
          </p:cNvPr>
          <p:cNvSpPr>
            <a:spLocks noChangeAspect="1"/>
          </p:cNvSpPr>
          <p:nvPr/>
        </p:nvSpPr>
        <p:spPr bwMode="auto">
          <a:xfrm>
            <a:off x="611250" y="4846147"/>
            <a:ext cx="109728" cy="110370"/>
          </a:xfrm>
          <a:prstGeom prst="ellipse">
            <a:avLst/>
          </a:prstGeom>
          <a:solidFill>
            <a:srgbClr val="00B0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6" name="Oval 115">
            <a:extLst>
              <a:ext uri="{FF2B5EF4-FFF2-40B4-BE49-F238E27FC236}">
                <a16:creationId xmlns:a16="http://schemas.microsoft.com/office/drawing/2014/main" id="{D58C8174-7E67-4E93-9266-FC9F32CDCE71}"/>
              </a:ext>
            </a:extLst>
          </p:cNvPr>
          <p:cNvSpPr>
            <a:spLocks noChangeAspect="1"/>
          </p:cNvSpPr>
          <p:nvPr/>
        </p:nvSpPr>
        <p:spPr bwMode="auto">
          <a:xfrm>
            <a:off x="2737341" y="4846147"/>
            <a:ext cx="109728" cy="110370"/>
          </a:xfrm>
          <a:prstGeom prst="ellipse">
            <a:avLst/>
          </a:prstGeom>
          <a:solidFill>
            <a:srgbClr val="FFC0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7" name="Oval 116">
            <a:extLst>
              <a:ext uri="{FF2B5EF4-FFF2-40B4-BE49-F238E27FC236}">
                <a16:creationId xmlns:a16="http://schemas.microsoft.com/office/drawing/2014/main" id="{EBBAFC9B-C261-4603-A3FD-08CE84DF9426}"/>
              </a:ext>
            </a:extLst>
          </p:cNvPr>
          <p:cNvSpPr>
            <a:spLocks noChangeAspect="1"/>
          </p:cNvSpPr>
          <p:nvPr/>
        </p:nvSpPr>
        <p:spPr bwMode="auto">
          <a:xfrm>
            <a:off x="4948392" y="4846147"/>
            <a:ext cx="109728" cy="110370"/>
          </a:xfrm>
          <a:prstGeom prst="ellipse">
            <a:avLst/>
          </a:prstGeom>
          <a:solidFill>
            <a:srgbClr val="D2415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456143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26047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Steuerungskreis am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XX.XX.</a:t>
            </a:r>
          </a:p>
        </p:txBody>
      </p:sp>
      <p:sp>
        <p:nvSpPr>
          <p:cNvPr id="38" name="RectangleLegend1">
            <a:extLst>
              <a:ext uri="{FF2B5EF4-FFF2-40B4-BE49-F238E27FC236}">
                <a16:creationId xmlns:a16="http://schemas.microsoft.com/office/drawing/2014/main" id="{916A538C-8003-435B-B531-DA64D65FD5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9310" y="3003511"/>
            <a:ext cx="5564657" cy="484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40E2D49-6E1D-4941-AF34-121C0150FB16}"/>
              </a:ext>
            </a:extLst>
          </p:cNvPr>
          <p:cNvCxnSpPr>
            <a:cxnSpLocks/>
          </p:cNvCxnSpPr>
          <p:nvPr/>
        </p:nvCxnSpPr>
        <p:spPr bwMode="gray">
          <a:xfrm>
            <a:off x="1869310" y="4457373"/>
            <a:ext cx="5564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7363D58-8A68-406E-8990-1E6B8A779775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034273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D2ED6DF-4F61-4D17-BE7A-31D939F1A548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518892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A951AEB-2946-4DD1-B62E-5DD06032C0F9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003511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74C9D82-9023-46DD-8E8E-DF33172B0F87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488130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7AF78F5-5AC7-4475-ABBC-8DF20BA6AAF0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972749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97DEEA4-2D27-431C-A3DC-9399EF67A44A}"/>
              </a:ext>
            </a:extLst>
          </p:cNvPr>
          <p:cNvSpPr txBox="1">
            <a:spLocks/>
          </p:cNvSpPr>
          <p:nvPr/>
        </p:nvSpPr>
        <p:spPr>
          <a:xfrm>
            <a:off x="6147747" y="1173397"/>
            <a:ext cx="128622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0451246-D5B5-4B3D-B9A5-8D939A02B1BF}"/>
              </a:ext>
            </a:extLst>
          </p:cNvPr>
          <p:cNvSpPr txBox="1">
            <a:spLocks/>
          </p:cNvSpPr>
          <p:nvPr/>
        </p:nvSpPr>
        <p:spPr>
          <a:xfrm>
            <a:off x="1869310" y="1173397"/>
            <a:ext cx="4101617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F6BDB35-AEEC-4F22-9BB9-993A43547B46}"/>
              </a:ext>
            </a:extLst>
          </p:cNvPr>
          <p:cNvSpPr txBox="1">
            <a:spLocks/>
          </p:cNvSpPr>
          <p:nvPr/>
        </p:nvSpPr>
        <p:spPr>
          <a:xfrm>
            <a:off x="6147747" y="1684241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D04B9FA-A88B-4727-B6F8-383338CCCD0C}"/>
              </a:ext>
            </a:extLst>
          </p:cNvPr>
          <p:cNvSpPr txBox="1">
            <a:spLocks/>
          </p:cNvSpPr>
          <p:nvPr/>
        </p:nvSpPr>
        <p:spPr>
          <a:xfrm>
            <a:off x="1869310" y="1684241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Zielsetzung des Steuerungskreises&gt;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179213E-4DDF-4811-9CBF-79ABDE60ED19}"/>
              </a:ext>
            </a:extLst>
          </p:cNvPr>
          <p:cNvSpPr txBox="1">
            <a:spLocks/>
          </p:cNvSpPr>
          <p:nvPr/>
        </p:nvSpPr>
        <p:spPr>
          <a:xfrm>
            <a:off x="6147747" y="3138098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AFD5AF5-540D-46D7-9B41-0B652A58F8AC}"/>
              </a:ext>
            </a:extLst>
          </p:cNvPr>
          <p:cNvSpPr txBox="1">
            <a:spLocks/>
          </p:cNvSpPr>
          <p:nvPr/>
        </p:nvSpPr>
        <p:spPr>
          <a:xfrm>
            <a:off x="1869310" y="3138098"/>
            <a:ext cx="43890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bstimmung Themen mit Entscheidungsbedarf&gt;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C110964-D1FC-4501-8A5B-562BBA9BA267}"/>
              </a:ext>
            </a:extLst>
          </p:cNvPr>
          <p:cNvSpPr txBox="1">
            <a:spLocks/>
          </p:cNvSpPr>
          <p:nvPr/>
        </p:nvSpPr>
        <p:spPr>
          <a:xfrm>
            <a:off x="6147747" y="2168860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D50D6CE-D7EE-4226-B50B-55E55B011470}"/>
              </a:ext>
            </a:extLst>
          </p:cNvPr>
          <p:cNvSpPr txBox="1">
            <a:spLocks/>
          </p:cNvSpPr>
          <p:nvPr/>
        </p:nvSpPr>
        <p:spPr>
          <a:xfrm>
            <a:off x="1869310" y="2168860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uellen Projektaktivitäten&gt;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6B32EA7-FDFF-46B6-A493-4D1E4D64AC38}"/>
              </a:ext>
            </a:extLst>
          </p:cNvPr>
          <p:cNvSpPr txBox="1">
            <a:spLocks/>
          </p:cNvSpPr>
          <p:nvPr/>
        </p:nvSpPr>
        <p:spPr>
          <a:xfrm>
            <a:off x="6147747" y="4107336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CC72E9C-9D57-4098-A922-A70A64139205}"/>
              </a:ext>
            </a:extLst>
          </p:cNvPr>
          <p:cNvSpPr txBox="1">
            <a:spLocks/>
          </p:cNvSpPr>
          <p:nvPr/>
        </p:nvSpPr>
        <p:spPr>
          <a:xfrm>
            <a:off x="1869310" y="4107336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Festlegung der nächsten Schritte&gt;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DABA866-0CE2-483D-9FAD-FA32BEA4DBA4}"/>
              </a:ext>
            </a:extLst>
          </p:cNvPr>
          <p:cNvSpPr txBox="1">
            <a:spLocks/>
          </p:cNvSpPr>
          <p:nvPr/>
        </p:nvSpPr>
        <p:spPr>
          <a:xfrm>
            <a:off x="6147747" y="2653479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996ED4F-1C3A-4AAE-BEC0-171DCD1B9011}"/>
              </a:ext>
            </a:extLst>
          </p:cNvPr>
          <p:cNvSpPr txBox="1">
            <a:spLocks/>
          </p:cNvSpPr>
          <p:nvPr/>
        </p:nvSpPr>
        <p:spPr>
          <a:xfrm>
            <a:off x="1869310" y="2653479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Darstellung der inhaltlichen Umsetzung&gt;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2618569-495E-46F5-8879-8B3B55BCB6A7}"/>
              </a:ext>
            </a:extLst>
          </p:cNvPr>
          <p:cNvSpPr txBox="1">
            <a:spLocks/>
          </p:cNvSpPr>
          <p:nvPr/>
        </p:nvSpPr>
        <p:spPr>
          <a:xfrm>
            <a:off x="6147747" y="3622717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EAB6215-05E0-4BC3-8120-9C829D214B8E}"/>
              </a:ext>
            </a:extLst>
          </p:cNvPr>
          <p:cNvSpPr txBox="1">
            <a:spLocks/>
          </p:cNvSpPr>
          <p:nvPr/>
        </p:nvSpPr>
        <p:spPr>
          <a:xfrm>
            <a:off x="1869310" y="3622717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dressierung von Unterstützungsbedarfen&gt;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0581CE6-FFFB-4D57-BE7C-AE45B915AE46}"/>
              </a:ext>
            </a:extLst>
          </p:cNvPr>
          <p:cNvGrpSpPr/>
          <p:nvPr/>
        </p:nvGrpSpPr>
        <p:grpSpPr>
          <a:xfrm>
            <a:off x="5667437" y="1223502"/>
            <a:ext cx="246340" cy="260658"/>
            <a:chOff x="5451867" y="1215807"/>
            <a:chExt cx="246340" cy="260658"/>
          </a:xfrm>
        </p:grpSpPr>
        <p:sp>
          <p:nvSpPr>
            <p:cNvPr id="62" name="Freeform 73">
              <a:extLst>
                <a:ext uri="{FF2B5EF4-FFF2-40B4-BE49-F238E27FC236}">
                  <a16:creationId xmlns:a16="http://schemas.microsoft.com/office/drawing/2014/main" id="{8A928985-D1C4-49F9-B369-59FA14158C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1867" y="1215807"/>
              <a:ext cx="227063" cy="260459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13ED7019-C822-445F-A2FE-B60196C665F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6139" y="1294115"/>
              <a:ext cx="182068" cy="182350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4" name="Freeform 71">
            <a:extLst>
              <a:ext uri="{FF2B5EF4-FFF2-40B4-BE49-F238E27FC236}">
                <a16:creationId xmlns:a16="http://schemas.microsoft.com/office/drawing/2014/main" id="{07559066-6602-463F-938B-093DA30A4F15}"/>
              </a:ext>
            </a:extLst>
          </p:cNvPr>
          <p:cNvSpPr>
            <a:spLocks noChangeAspect="1"/>
          </p:cNvSpPr>
          <p:nvPr/>
        </p:nvSpPr>
        <p:spPr bwMode="gray">
          <a:xfrm>
            <a:off x="7116190" y="1223681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18664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5EAA70F-588C-46AF-AE5C-764CAB0A0A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577258"/>
              </p:ext>
            </p:extLst>
          </p:nvPr>
        </p:nvGraphicFramePr>
        <p:xfrm>
          <a:off x="1656" y="16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5EAA70F-588C-46AF-AE5C-764CAB0A0A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656" y="16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005E162-8767-407E-AB89-54C09AA5EA1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C234E57F-28ED-45BD-A312-A343E515B1D3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ntscheidungsbedarf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067AC26-E976-4F9A-A556-1B1347E05F4A}"/>
              </a:ext>
            </a:extLst>
          </p:cNvPr>
          <p:cNvSpPr txBox="1">
            <a:spLocks/>
          </p:cNvSpPr>
          <p:nvPr/>
        </p:nvSpPr>
        <p:spPr>
          <a:xfrm>
            <a:off x="487362" y="1171588"/>
            <a:ext cx="40300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scheidungsbedarf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FF394F7-C541-419E-899E-B52275648059}"/>
              </a:ext>
            </a:extLst>
          </p:cNvPr>
          <p:cNvSpPr txBox="1">
            <a:spLocks/>
          </p:cNvSpPr>
          <p:nvPr/>
        </p:nvSpPr>
        <p:spPr>
          <a:xfrm>
            <a:off x="5029200" y="1171588"/>
            <a:ext cx="378671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ergrundinformation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87373EB-ABB8-43B4-9A50-14A282D18114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029200" y="1557452"/>
            <a:ext cx="378671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lvl="1">
              <a:spcBef>
                <a:spcPts val="600"/>
              </a:spcBef>
            </a:pPr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weiterführende Informationen zum Entscheidungsbedarf ggf. Handlungsempfehlung&gt;</a:t>
            </a:r>
          </a:p>
        </p:txBody>
      </p:sp>
      <p:sp>
        <p:nvSpPr>
          <p:cNvPr id="50" name="TrackerNum 48">
            <a:extLst>
              <a:ext uri="{FF2B5EF4-FFF2-40B4-BE49-F238E27FC236}">
                <a16:creationId xmlns:a16="http://schemas.microsoft.com/office/drawing/2014/main" id="{C33F41CE-83F7-4A45-BB1E-CE207B1BF777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87362" y="2122340"/>
            <a:ext cx="268076" cy="268432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4EB4C9D-0C84-41EC-858F-E3E6540EFDE0}"/>
              </a:ext>
            </a:extLst>
          </p:cNvPr>
          <p:cNvSpPr txBox="1">
            <a:spLocks/>
          </p:cNvSpPr>
          <p:nvPr/>
        </p:nvSpPr>
        <p:spPr>
          <a:xfrm>
            <a:off x="836177" y="2122340"/>
            <a:ext cx="36812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Entscheidungsbedarf&gt;</a:t>
            </a:r>
          </a:p>
        </p:txBody>
      </p:sp>
      <p:sp>
        <p:nvSpPr>
          <p:cNvPr id="51" name="TrackerNum 48">
            <a:extLst>
              <a:ext uri="{FF2B5EF4-FFF2-40B4-BE49-F238E27FC236}">
                <a16:creationId xmlns:a16="http://schemas.microsoft.com/office/drawing/2014/main" id="{4FBD0EE9-8BFC-4195-9BDB-35890EC4ED35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487362" y="2687226"/>
            <a:ext cx="268076" cy="268432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C2EDE59-94A0-4872-8F88-EAD2E344F0CA}"/>
              </a:ext>
            </a:extLst>
          </p:cNvPr>
          <p:cNvSpPr txBox="1">
            <a:spLocks/>
          </p:cNvSpPr>
          <p:nvPr/>
        </p:nvSpPr>
        <p:spPr>
          <a:xfrm>
            <a:off x="836177" y="2687226"/>
            <a:ext cx="36812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Entscheidungsbedarf&gt;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568D4B6-D5E3-453E-98C8-C6EB898867FB}"/>
              </a:ext>
            </a:extLst>
          </p:cNvPr>
          <p:cNvSpPr txBox="1">
            <a:spLocks/>
          </p:cNvSpPr>
          <p:nvPr/>
        </p:nvSpPr>
        <p:spPr>
          <a:xfrm>
            <a:off x="836177" y="1568557"/>
            <a:ext cx="36812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Entscheidungsbedarf&gt;</a:t>
            </a:r>
          </a:p>
        </p:txBody>
      </p:sp>
      <p:sp>
        <p:nvSpPr>
          <p:cNvPr id="48" name="TrackerNum 48">
            <a:extLst>
              <a:ext uri="{FF2B5EF4-FFF2-40B4-BE49-F238E27FC236}">
                <a16:creationId xmlns:a16="http://schemas.microsoft.com/office/drawing/2014/main" id="{48A70A92-F948-4CA4-9AF6-57E09C42A14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487362" y="1557452"/>
            <a:ext cx="268076" cy="268432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404AD72A-FE63-4F5E-A931-026C6F5E712A}"/>
              </a:ext>
            </a:extLst>
          </p:cNvPr>
          <p:cNvCxnSpPr>
            <a:cxnSpLocks/>
          </p:cNvCxnSpPr>
          <p:nvPr/>
        </p:nvCxnSpPr>
        <p:spPr>
          <a:xfrm>
            <a:off x="487362" y="1974112"/>
            <a:ext cx="403004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973B7A1A-3337-435E-BDE4-D966147B610E}"/>
              </a:ext>
            </a:extLst>
          </p:cNvPr>
          <p:cNvCxnSpPr>
            <a:cxnSpLocks/>
          </p:cNvCxnSpPr>
          <p:nvPr/>
        </p:nvCxnSpPr>
        <p:spPr>
          <a:xfrm>
            <a:off x="487362" y="2538999"/>
            <a:ext cx="403004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rackerNum 48">
            <a:extLst>
              <a:ext uri="{FF2B5EF4-FFF2-40B4-BE49-F238E27FC236}">
                <a16:creationId xmlns:a16="http://schemas.microsoft.com/office/drawing/2014/main" id="{2F5097AE-F7ED-4B5C-B6E6-92F29ACD40B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487362" y="3252113"/>
            <a:ext cx="268076" cy="268432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532EFA1-FC96-41FE-9E91-5431C12877DB}"/>
              </a:ext>
            </a:extLst>
          </p:cNvPr>
          <p:cNvSpPr txBox="1">
            <a:spLocks/>
          </p:cNvSpPr>
          <p:nvPr/>
        </p:nvSpPr>
        <p:spPr>
          <a:xfrm>
            <a:off x="836177" y="3252113"/>
            <a:ext cx="368123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Entscheidungsbedarf&gt;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8C85BFD8-D2C2-47DA-8ADF-3E1326D3327B}"/>
              </a:ext>
            </a:extLst>
          </p:cNvPr>
          <p:cNvCxnSpPr>
            <a:cxnSpLocks/>
          </p:cNvCxnSpPr>
          <p:nvPr/>
        </p:nvCxnSpPr>
        <p:spPr>
          <a:xfrm>
            <a:off x="487362" y="3103885"/>
            <a:ext cx="403004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20A64F1-64CD-4938-AFD1-FA7483EE3011}"/>
              </a:ext>
            </a:extLst>
          </p:cNvPr>
          <p:cNvCxnSpPr>
            <a:cxnSpLocks/>
          </p:cNvCxnSpPr>
          <p:nvPr/>
        </p:nvCxnSpPr>
        <p:spPr>
          <a:xfrm>
            <a:off x="487362" y="1446534"/>
            <a:ext cx="792212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FADE9D3-4C7E-4F50-9C6A-D28D7A005224}"/>
              </a:ext>
            </a:extLst>
          </p:cNvPr>
          <p:cNvGrpSpPr/>
          <p:nvPr/>
        </p:nvGrpSpPr>
        <p:grpSpPr bwMode="gray">
          <a:xfrm>
            <a:off x="4598148" y="1184079"/>
            <a:ext cx="335149" cy="524910"/>
            <a:chOff x="2501286" y="2793737"/>
            <a:chExt cx="403875" cy="611512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3D7018A6-F93E-404E-8E5E-646212E4D0B0}"/>
                </a:ext>
              </a:extLst>
            </p:cNvPr>
            <p:cNvSpPr/>
            <p:nvPr/>
          </p:nvSpPr>
          <p:spPr bwMode="gray">
            <a:xfrm>
              <a:off x="2541528" y="2793737"/>
              <a:ext cx="363633" cy="6115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49" dirty="0" err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2F3E23D-18A9-4094-8C65-D5D38FD188FF}"/>
                </a:ext>
              </a:extLst>
            </p:cNvPr>
            <p:cNvGrpSpPr/>
            <p:nvPr/>
          </p:nvGrpSpPr>
          <p:grpSpPr bwMode="gray">
            <a:xfrm>
              <a:off x="2501286" y="2888629"/>
              <a:ext cx="379332" cy="421728"/>
              <a:chOff x="2501286" y="2853935"/>
              <a:chExt cx="379332" cy="421728"/>
            </a:xfrm>
          </p:grpSpPr>
          <p:sp>
            <p:nvSpPr>
              <p:cNvPr id="31" name="Chevron 7">
                <a:extLst>
                  <a:ext uri="{FF2B5EF4-FFF2-40B4-BE49-F238E27FC236}">
                    <a16:creationId xmlns:a16="http://schemas.microsoft.com/office/drawing/2014/main" id="{D529953E-AE74-4E0D-BAE3-A82546581E6C}"/>
                  </a:ext>
                </a:extLst>
              </p:cNvPr>
              <p:cNvSpPr/>
              <p:nvPr/>
            </p:nvSpPr>
            <p:spPr bwMode="gray">
              <a:xfrm flipV="1">
                <a:off x="2501286" y="2901701"/>
                <a:ext cx="199048" cy="326196"/>
              </a:xfrm>
              <a:prstGeom prst="chevron">
                <a:avLst/>
              </a:prstGeom>
              <a:solidFill>
                <a:schemeClr val="bg1">
                  <a:lumMod val="7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49" dirty="0" err="1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Chevron 8">
                <a:extLst>
                  <a:ext uri="{FF2B5EF4-FFF2-40B4-BE49-F238E27FC236}">
                    <a16:creationId xmlns:a16="http://schemas.microsoft.com/office/drawing/2014/main" id="{11274455-D633-41F6-B566-A555BA7D3984}"/>
                  </a:ext>
                </a:extLst>
              </p:cNvPr>
              <p:cNvSpPr/>
              <p:nvPr/>
            </p:nvSpPr>
            <p:spPr bwMode="gray">
              <a:xfrm>
                <a:off x="2623274" y="2853935"/>
                <a:ext cx="257344" cy="421728"/>
              </a:xfrm>
              <a:prstGeom prst="chevron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49" dirty="0" err="1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48A29523-9816-4E66-B04D-B141E2E32B90}"/>
              </a:ext>
            </a:extLst>
          </p:cNvPr>
          <p:cNvCxnSpPr>
            <a:cxnSpLocks/>
          </p:cNvCxnSpPr>
          <p:nvPr/>
        </p:nvCxnSpPr>
        <p:spPr>
          <a:xfrm>
            <a:off x="4751457" y="1637201"/>
            <a:ext cx="0" cy="2905936"/>
          </a:xfrm>
          <a:prstGeom prst="line">
            <a:avLst/>
          </a:prstGeom>
          <a:ln w="31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1698160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8621017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Steuerungskreis am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XX.XX.</a:t>
            </a:r>
          </a:p>
        </p:txBody>
      </p:sp>
      <p:sp>
        <p:nvSpPr>
          <p:cNvPr id="38" name="RectangleLegend1">
            <a:extLst>
              <a:ext uri="{FF2B5EF4-FFF2-40B4-BE49-F238E27FC236}">
                <a16:creationId xmlns:a16="http://schemas.microsoft.com/office/drawing/2014/main" id="{916A538C-8003-435B-B531-DA64D65FD5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9310" y="3490690"/>
            <a:ext cx="5564657" cy="484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40E2D49-6E1D-4941-AF34-121C0150FB16}"/>
              </a:ext>
            </a:extLst>
          </p:cNvPr>
          <p:cNvCxnSpPr>
            <a:cxnSpLocks/>
          </p:cNvCxnSpPr>
          <p:nvPr/>
        </p:nvCxnSpPr>
        <p:spPr bwMode="gray">
          <a:xfrm>
            <a:off x="1869310" y="4457373"/>
            <a:ext cx="5564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7363D58-8A68-406E-8990-1E6B8A779775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034273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D2ED6DF-4F61-4D17-BE7A-31D939F1A548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518892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A951AEB-2946-4DD1-B62E-5DD06032C0F9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003511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74C9D82-9023-46DD-8E8E-DF33172B0F87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488130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7AF78F5-5AC7-4475-ABBC-8DF20BA6AAF0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972749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97DEEA4-2D27-431C-A3DC-9399EF67A44A}"/>
              </a:ext>
            </a:extLst>
          </p:cNvPr>
          <p:cNvSpPr txBox="1">
            <a:spLocks/>
          </p:cNvSpPr>
          <p:nvPr/>
        </p:nvSpPr>
        <p:spPr>
          <a:xfrm>
            <a:off x="6147747" y="1173397"/>
            <a:ext cx="128622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0451246-D5B5-4B3D-B9A5-8D939A02B1BF}"/>
              </a:ext>
            </a:extLst>
          </p:cNvPr>
          <p:cNvSpPr txBox="1">
            <a:spLocks/>
          </p:cNvSpPr>
          <p:nvPr/>
        </p:nvSpPr>
        <p:spPr>
          <a:xfrm>
            <a:off x="1869310" y="1173397"/>
            <a:ext cx="4101617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F6BDB35-AEEC-4F22-9BB9-993A43547B46}"/>
              </a:ext>
            </a:extLst>
          </p:cNvPr>
          <p:cNvSpPr txBox="1">
            <a:spLocks/>
          </p:cNvSpPr>
          <p:nvPr/>
        </p:nvSpPr>
        <p:spPr>
          <a:xfrm>
            <a:off x="6147747" y="1684241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D04B9FA-A88B-4727-B6F8-383338CCCD0C}"/>
              </a:ext>
            </a:extLst>
          </p:cNvPr>
          <p:cNvSpPr txBox="1">
            <a:spLocks/>
          </p:cNvSpPr>
          <p:nvPr/>
        </p:nvSpPr>
        <p:spPr>
          <a:xfrm>
            <a:off x="1869310" y="1684241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Zielsetzung des Steuerungskreises&gt;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179213E-4DDF-4811-9CBF-79ABDE60ED19}"/>
              </a:ext>
            </a:extLst>
          </p:cNvPr>
          <p:cNvSpPr txBox="1">
            <a:spLocks/>
          </p:cNvSpPr>
          <p:nvPr/>
        </p:nvSpPr>
        <p:spPr>
          <a:xfrm>
            <a:off x="6147747" y="3138098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AFD5AF5-540D-46D7-9B41-0B652A58F8AC}"/>
              </a:ext>
            </a:extLst>
          </p:cNvPr>
          <p:cNvSpPr txBox="1">
            <a:spLocks/>
          </p:cNvSpPr>
          <p:nvPr/>
        </p:nvSpPr>
        <p:spPr>
          <a:xfrm>
            <a:off x="1869310" y="3138098"/>
            <a:ext cx="43890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bstimmung Themen mit Entscheidungsbedarf&gt;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C110964-D1FC-4501-8A5B-562BBA9BA267}"/>
              </a:ext>
            </a:extLst>
          </p:cNvPr>
          <p:cNvSpPr txBox="1">
            <a:spLocks/>
          </p:cNvSpPr>
          <p:nvPr/>
        </p:nvSpPr>
        <p:spPr>
          <a:xfrm>
            <a:off x="6147747" y="2168860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D50D6CE-D7EE-4226-B50B-55E55B011470}"/>
              </a:ext>
            </a:extLst>
          </p:cNvPr>
          <p:cNvSpPr txBox="1">
            <a:spLocks/>
          </p:cNvSpPr>
          <p:nvPr/>
        </p:nvSpPr>
        <p:spPr>
          <a:xfrm>
            <a:off x="1869310" y="2168860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uellen Projektaktivitäten&gt;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6B32EA7-FDFF-46B6-A493-4D1E4D64AC38}"/>
              </a:ext>
            </a:extLst>
          </p:cNvPr>
          <p:cNvSpPr txBox="1">
            <a:spLocks/>
          </p:cNvSpPr>
          <p:nvPr/>
        </p:nvSpPr>
        <p:spPr>
          <a:xfrm>
            <a:off x="6147747" y="4107336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CC72E9C-9D57-4098-A922-A70A64139205}"/>
              </a:ext>
            </a:extLst>
          </p:cNvPr>
          <p:cNvSpPr txBox="1">
            <a:spLocks/>
          </p:cNvSpPr>
          <p:nvPr/>
        </p:nvSpPr>
        <p:spPr>
          <a:xfrm>
            <a:off x="1869310" y="4107336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Festlegung der nächsten Schritte&gt;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DABA866-0CE2-483D-9FAD-FA32BEA4DBA4}"/>
              </a:ext>
            </a:extLst>
          </p:cNvPr>
          <p:cNvSpPr txBox="1">
            <a:spLocks/>
          </p:cNvSpPr>
          <p:nvPr/>
        </p:nvSpPr>
        <p:spPr>
          <a:xfrm>
            <a:off x="6147747" y="2653479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996ED4F-1C3A-4AAE-BEC0-171DCD1B9011}"/>
              </a:ext>
            </a:extLst>
          </p:cNvPr>
          <p:cNvSpPr txBox="1">
            <a:spLocks/>
          </p:cNvSpPr>
          <p:nvPr/>
        </p:nvSpPr>
        <p:spPr>
          <a:xfrm>
            <a:off x="1869310" y="2653479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Darstellung der inhaltlichen Umsetzung&gt;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2618569-495E-46F5-8879-8B3B55BCB6A7}"/>
              </a:ext>
            </a:extLst>
          </p:cNvPr>
          <p:cNvSpPr txBox="1">
            <a:spLocks/>
          </p:cNvSpPr>
          <p:nvPr/>
        </p:nvSpPr>
        <p:spPr>
          <a:xfrm>
            <a:off x="6147747" y="3622717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EAB6215-05E0-4BC3-8120-9C829D214B8E}"/>
              </a:ext>
            </a:extLst>
          </p:cNvPr>
          <p:cNvSpPr txBox="1">
            <a:spLocks/>
          </p:cNvSpPr>
          <p:nvPr/>
        </p:nvSpPr>
        <p:spPr>
          <a:xfrm>
            <a:off x="1869310" y="3622717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dressierung von Unterstützungsbedarfen&gt;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0581CE6-FFFB-4D57-BE7C-AE45B915AE46}"/>
              </a:ext>
            </a:extLst>
          </p:cNvPr>
          <p:cNvGrpSpPr/>
          <p:nvPr/>
        </p:nvGrpSpPr>
        <p:grpSpPr>
          <a:xfrm>
            <a:off x="5667437" y="1223502"/>
            <a:ext cx="246340" cy="260658"/>
            <a:chOff x="5451867" y="1215807"/>
            <a:chExt cx="246340" cy="260658"/>
          </a:xfrm>
        </p:grpSpPr>
        <p:sp>
          <p:nvSpPr>
            <p:cNvPr id="62" name="Freeform 73">
              <a:extLst>
                <a:ext uri="{FF2B5EF4-FFF2-40B4-BE49-F238E27FC236}">
                  <a16:creationId xmlns:a16="http://schemas.microsoft.com/office/drawing/2014/main" id="{8A928985-D1C4-49F9-B369-59FA14158C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1867" y="1215807"/>
              <a:ext cx="227063" cy="260459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13ED7019-C822-445F-A2FE-B60196C665F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6139" y="1294115"/>
              <a:ext cx="182068" cy="182350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4" name="Freeform 71">
            <a:extLst>
              <a:ext uri="{FF2B5EF4-FFF2-40B4-BE49-F238E27FC236}">
                <a16:creationId xmlns:a16="http://schemas.microsoft.com/office/drawing/2014/main" id="{07559066-6602-463F-938B-093DA30A4F15}"/>
              </a:ext>
            </a:extLst>
          </p:cNvPr>
          <p:cNvSpPr>
            <a:spLocks noChangeAspect="1"/>
          </p:cNvSpPr>
          <p:nvPr/>
        </p:nvSpPr>
        <p:spPr bwMode="gray">
          <a:xfrm>
            <a:off x="7116190" y="1223681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83749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A7D781-72DC-4EA8-8ADC-BF84965F31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945750"/>
              </p:ext>
            </p:extLst>
          </p:nvPr>
        </p:nvGraphicFramePr>
        <p:xfrm>
          <a:off x="1656" y="16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6" progId="TCLayout.ActiveDocument.1">
                  <p:embed/>
                </p:oleObj>
              </mc:Choice>
              <mc:Fallback>
                <p:oleObj name="think-cell Slide" r:id="rId7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A7D781-72DC-4EA8-8ADC-BF84965F3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56" y="16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82D06C-CD0E-4601-9876-91253993F2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CEC6D537-4A6B-4B6B-A9A9-0D98B45AEC8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Adressierung von Unterstützungsbedarfen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3F66F6B-661C-475E-A12C-06774D9012C5}"/>
              </a:ext>
            </a:extLst>
          </p:cNvPr>
          <p:cNvCxnSpPr>
            <a:cxnSpLocks/>
          </p:cNvCxnSpPr>
          <p:nvPr/>
        </p:nvCxnSpPr>
        <p:spPr bwMode="gray">
          <a:xfrm>
            <a:off x="487362" y="1566837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5DDE5504-09DE-4EDA-AC98-0D6A048C52C6}"/>
              </a:ext>
            </a:extLst>
          </p:cNvPr>
          <p:cNvGrpSpPr/>
          <p:nvPr/>
        </p:nvGrpSpPr>
        <p:grpSpPr>
          <a:xfrm>
            <a:off x="487361" y="2551515"/>
            <a:ext cx="3897593" cy="984678"/>
            <a:chOff x="487361" y="2447098"/>
            <a:chExt cx="3897593" cy="984678"/>
          </a:xfrm>
        </p:grpSpPr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4ED86E1B-086E-4EFE-A980-1BACC8966261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7361" y="2447098"/>
              <a:ext cx="389759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D450E3DA-3155-4808-B71F-81EA13B4585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7361" y="3431776"/>
              <a:ext cx="3897593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4" name="TextBox 73">
            <a:extLst>
              <a:ext uri="{FF2B5EF4-FFF2-40B4-BE49-F238E27FC236}">
                <a16:creationId xmlns:a16="http://schemas.microsoft.com/office/drawing/2014/main" id="{50F9E5DA-F2FC-4146-9C23-4F937D8237ED}"/>
              </a:ext>
            </a:extLst>
          </p:cNvPr>
          <p:cNvSpPr txBox="1">
            <a:spLocks/>
          </p:cNvSpPr>
          <p:nvPr/>
        </p:nvSpPr>
        <p:spPr>
          <a:xfrm>
            <a:off x="5058346" y="1342367"/>
            <a:ext cx="198839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fehlung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193613D-A19C-431B-B973-BE92C826CD9A}"/>
              </a:ext>
            </a:extLst>
          </p:cNvPr>
          <p:cNvSpPr txBox="1">
            <a:spLocks/>
          </p:cNvSpPr>
          <p:nvPr/>
        </p:nvSpPr>
        <p:spPr>
          <a:xfrm>
            <a:off x="2122277" y="1342367"/>
            <a:ext cx="226267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intergrund der Aktivität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1B02DB75-B291-4783-909F-A49B62214BFC}"/>
              </a:ext>
            </a:extLst>
          </p:cNvPr>
          <p:cNvSpPr txBox="1">
            <a:spLocks/>
          </p:cNvSpPr>
          <p:nvPr/>
        </p:nvSpPr>
        <p:spPr>
          <a:xfrm>
            <a:off x="7383439" y="1342367"/>
            <a:ext cx="14324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antwortlichkeit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681D787-869B-4819-8577-7DB3080BFC29}"/>
              </a:ext>
            </a:extLst>
          </p:cNvPr>
          <p:cNvSpPr txBox="1">
            <a:spLocks/>
          </p:cNvSpPr>
          <p:nvPr/>
        </p:nvSpPr>
        <p:spPr>
          <a:xfrm>
            <a:off x="5058346" y="1628289"/>
            <a:ext cx="19883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Empfehlung für den Unterstützungsbedarf&gt;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8E1E488-3DDA-444C-838C-ADCCE0A91482}"/>
              </a:ext>
            </a:extLst>
          </p:cNvPr>
          <p:cNvSpPr txBox="1">
            <a:spLocks/>
          </p:cNvSpPr>
          <p:nvPr/>
        </p:nvSpPr>
        <p:spPr>
          <a:xfrm>
            <a:off x="7383439" y="1628289"/>
            <a:ext cx="14324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C641301-A3D3-4050-B8AD-164C4AEBB1DB}"/>
              </a:ext>
            </a:extLst>
          </p:cNvPr>
          <p:cNvSpPr txBox="1">
            <a:spLocks/>
          </p:cNvSpPr>
          <p:nvPr/>
        </p:nvSpPr>
        <p:spPr>
          <a:xfrm>
            <a:off x="5058346" y="2612967"/>
            <a:ext cx="19883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Empfehlung für den Unterstützungsbedarf &gt;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74D5F67-72D7-4AD0-B6A4-E6E3D8391BCD}"/>
              </a:ext>
            </a:extLst>
          </p:cNvPr>
          <p:cNvSpPr txBox="1">
            <a:spLocks/>
          </p:cNvSpPr>
          <p:nvPr/>
        </p:nvSpPr>
        <p:spPr>
          <a:xfrm>
            <a:off x="2122277" y="2612967"/>
            <a:ext cx="226267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ivität und der notwendigen Unterstützung &gt;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4F9B4BC6-E3E2-42F6-A354-DAD5298FEA3B}"/>
              </a:ext>
            </a:extLst>
          </p:cNvPr>
          <p:cNvSpPr txBox="1">
            <a:spLocks/>
          </p:cNvSpPr>
          <p:nvPr/>
        </p:nvSpPr>
        <p:spPr>
          <a:xfrm>
            <a:off x="7383439" y="2612967"/>
            <a:ext cx="14324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5423F47F-BA6F-4A79-8D8C-214CD8DE5065}"/>
              </a:ext>
            </a:extLst>
          </p:cNvPr>
          <p:cNvSpPr txBox="1">
            <a:spLocks/>
          </p:cNvSpPr>
          <p:nvPr/>
        </p:nvSpPr>
        <p:spPr>
          <a:xfrm>
            <a:off x="487361" y="2612967"/>
            <a:ext cx="1525683" cy="8617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Aktivität mit Unterstützungs-bedarf&gt;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48EC471-1A6D-4156-ABE3-AC26B96EEAE3}"/>
              </a:ext>
            </a:extLst>
          </p:cNvPr>
          <p:cNvSpPr txBox="1">
            <a:spLocks/>
          </p:cNvSpPr>
          <p:nvPr/>
        </p:nvSpPr>
        <p:spPr>
          <a:xfrm>
            <a:off x="5058346" y="3597646"/>
            <a:ext cx="198839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Empfehlung für den Unterstützungsbedarf &gt;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921A197F-1A1E-4501-A619-16EF2531FA65}"/>
              </a:ext>
            </a:extLst>
          </p:cNvPr>
          <p:cNvSpPr txBox="1">
            <a:spLocks/>
          </p:cNvSpPr>
          <p:nvPr/>
        </p:nvSpPr>
        <p:spPr>
          <a:xfrm>
            <a:off x="2122277" y="3597646"/>
            <a:ext cx="226267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ivität und der notwendigen Unterstützung&gt;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C5B09A93-4F5B-4F78-BD1F-DB8497DEC15D}"/>
              </a:ext>
            </a:extLst>
          </p:cNvPr>
          <p:cNvSpPr txBox="1">
            <a:spLocks/>
          </p:cNvSpPr>
          <p:nvPr/>
        </p:nvSpPr>
        <p:spPr>
          <a:xfrm>
            <a:off x="7383439" y="3597646"/>
            <a:ext cx="143247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5B799CB-9062-458D-9825-364C43BD7FF7}"/>
              </a:ext>
            </a:extLst>
          </p:cNvPr>
          <p:cNvSpPr txBox="1">
            <a:spLocks/>
          </p:cNvSpPr>
          <p:nvPr/>
        </p:nvSpPr>
        <p:spPr>
          <a:xfrm>
            <a:off x="2122277" y="1628289"/>
            <a:ext cx="226267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ivität und der notwendigen Unterstützung &gt;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id="{5B257F5D-68D5-4402-A873-30285B58B3AC}"/>
              </a:ext>
            </a:extLst>
          </p:cNvPr>
          <p:cNvSpPr txBox="1">
            <a:spLocks/>
          </p:cNvSpPr>
          <p:nvPr/>
        </p:nvSpPr>
        <p:spPr>
          <a:xfrm>
            <a:off x="487361" y="1628289"/>
            <a:ext cx="1525683" cy="8617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Aktivität mit Unterstützungs-bedarf&gt;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48D88AD9-839C-4A15-BE5C-657F217DEFE1}"/>
              </a:ext>
            </a:extLst>
          </p:cNvPr>
          <p:cNvSpPr txBox="1">
            <a:spLocks/>
          </p:cNvSpPr>
          <p:nvPr/>
        </p:nvSpPr>
        <p:spPr>
          <a:xfrm>
            <a:off x="487361" y="3597646"/>
            <a:ext cx="1525683" cy="86177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Aktivität mit Unterstützungs-bedarf&gt;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D7C3E570-C2E3-4CF8-92EB-DB5A17BD0DE1}"/>
              </a:ext>
            </a:extLst>
          </p:cNvPr>
          <p:cNvSpPr txBox="1">
            <a:spLocks/>
          </p:cNvSpPr>
          <p:nvPr/>
        </p:nvSpPr>
        <p:spPr>
          <a:xfrm>
            <a:off x="487361" y="1342367"/>
            <a:ext cx="152568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ität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9FCE51F4-4A52-4DCF-ABA0-6143565D965F}"/>
              </a:ext>
            </a:extLst>
          </p:cNvPr>
          <p:cNvCxnSpPr>
            <a:cxnSpLocks/>
          </p:cNvCxnSpPr>
          <p:nvPr/>
        </p:nvCxnSpPr>
        <p:spPr>
          <a:xfrm>
            <a:off x="4721650" y="1628289"/>
            <a:ext cx="0" cy="283113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1DD2FFF7-0490-4A73-A2FD-6C50C71DA01F}"/>
              </a:ext>
            </a:extLst>
          </p:cNvPr>
          <p:cNvCxnSpPr>
            <a:cxnSpLocks/>
          </p:cNvCxnSpPr>
          <p:nvPr/>
        </p:nvCxnSpPr>
        <p:spPr bwMode="gray">
          <a:xfrm>
            <a:off x="5058346" y="2551515"/>
            <a:ext cx="375756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52A552AC-69AF-469E-A036-62A05B84E600}"/>
              </a:ext>
            </a:extLst>
          </p:cNvPr>
          <p:cNvCxnSpPr>
            <a:cxnSpLocks/>
          </p:cNvCxnSpPr>
          <p:nvPr/>
        </p:nvCxnSpPr>
        <p:spPr bwMode="gray">
          <a:xfrm>
            <a:off x="5058346" y="3536193"/>
            <a:ext cx="3757568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8688C47-3632-4B17-9CAD-458F86A286D6}"/>
              </a:ext>
            </a:extLst>
          </p:cNvPr>
          <p:cNvGrpSpPr/>
          <p:nvPr>
            <p:custDataLst>
              <p:tags r:id="rId4"/>
            </p:custDataLst>
          </p:nvPr>
        </p:nvGrpSpPr>
        <p:grpSpPr bwMode="gray">
          <a:xfrm>
            <a:off x="4520778" y="2779378"/>
            <a:ext cx="401744" cy="528952"/>
            <a:chOff x="4015770" y="4870640"/>
            <a:chExt cx="338248" cy="468123"/>
          </a:xfrm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5795A37-CCBD-454D-9299-5B412F54ED7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770" y="4870640"/>
              <a:ext cx="338248" cy="46812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9973" tIns="34987" rIns="69973" bIns="34987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99722"/>
              <a:endPara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44E4E4E1-C3DB-4F8D-B613-56FEE917D1AD}"/>
                </a:ext>
              </a:extLst>
            </p:cNvPr>
            <p:cNvGrpSpPr/>
            <p:nvPr/>
          </p:nvGrpSpPr>
          <p:grpSpPr bwMode="gray">
            <a:xfrm>
              <a:off x="4028548" y="4914160"/>
              <a:ext cx="312692" cy="381083"/>
              <a:chOff x="4455354" y="5002096"/>
              <a:chExt cx="312692" cy="381083"/>
            </a:xfrm>
          </p:grpSpPr>
          <p:sp>
            <p:nvSpPr>
              <p:cNvPr id="57" name="Chevron 5">
                <a:extLst>
                  <a:ext uri="{FF2B5EF4-FFF2-40B4-BE49-F238E27FC236}">
                    <a16:creationId xmlns:a16="http://schemas.microsoft.com/office/drawing/2014/main" id="{A91007C2-5E84-466E-B946-E6C76EF79E50}"/>
                  </a:ext>
                </a:extLst>
              </p:cNvPr>
              <p:cNvSpPr/>
              <p:nvPr/>
            </p:nvSpPr>
            <p:spPr bwMode="gray">
              <a:xfrm>
                <a:off x="4455354" y="5053820"/>
                <a:ext cx="163405" cy="277635"/>
              </a:xfrm>
              <a:prstGeom prst="chevron">
                <a:avLst>
                  <a:gd name="adj" fmla="val 52914"/>
                </a:avLst>
              </a:prstGeom>
              <a:solidFill>
                <a:schemeClr val="accent6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73" tIns="34987" rIns="69973" bIns="34987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722"/>
                <a:endParaRPr lang="en-US" sz="9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Chevron 6">
                <a:extLst>
                  <a:ext uri="{FF2B5EF4-FFF2-40B4-BE49-F238E27FC236}">
                    <a16:creationId xmlns:a16="http://schemas.microsoft.com/office/drawing/2014/main" id="{D2695CDB-0733-4D20-9BA6-6576A318FDAF}"/>
                  </a:ext>
                </a:extLst>
              </p:cNvPr>
              <p:cNvSpPr/>
              <p:nvPr/>
            </p:nvSpPr>
            <p:spPr bwMode="gray">
              <a:xfrm>
                <a:off x="4543756" y="5002096"/>
                <a:ext cx="224290" cy="381083"/>
              </a:xfrm>
              <a:prstGeom prst="chevron">
                <a:avLst>
                  <a:gd name="adj" fmla="val 52914"/>
                </a:avLst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73" tIns="34987" rIns="69973" bIns="34987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722"/>
                <a:endParaRPr lang="en-US" sz="9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578230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357630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Steuerungskreis am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XX.XX.</a:t>
            </a:r>
          </a:p>
        </p:txBody>
      </p:sp>
      <p:sp>
        <p:nvSpPr>
          <p:cNvPr id="38" name="RectangleLegend1">
            <a:extLst>
              <a:ext uri="{FF2B5EF4-FFF2-40B4-BE49-F238E27FC236}">
                <a16:creationId xmlns:a16="http://schemas.microsoft.com/office/drawing/2014/main" id="{916A538C-8003-435B-B531-DA64D65FD5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1869310" y="3977865"/>
            <a:ext cx="5564657" cy="484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4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40E2D49-6E1D-4941-AF34-121C0150FB16}"/>
              </a:ext>
            </a:extLst>
          </p:cNvPr>
          <p:cNvCxnSpPr>
            <a:cxnSpLocks/>
          </p:cNvCxnSpPr>
          <p:nvPr/>
        </p:nvCxnSpPr>
        <p:spPr bwMode="gray">
          <a:xfrm>
            <a:off x="1869310" y="4457373"/>
            <a:ext cx="5564657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67363D58-8A68-406E-8990-1E6B8A779775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034273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8D2ED6DF-4F61-4D17-BE7A-31D939F1A548}"/>
              </a:ext>
            </a:extLst>
          </p:cNvPr>
          <p:cNvCxnSpPr>
            <a:cxnSpLocks/>
          </p:cNvCxnSpPr>
          <p:nvPr/>
        </p:nvCxnSpPr>
        <p:spPr bwMode="gray">
          <a:xfrm>
            <a:off x="1869310" y="2518892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A951AEB-2946-4DD1-B62E-5DD06032C0F9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003511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D74C9D82-9023-46DD-8E8E-DF33172B0F87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488130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7AF78F5-5AC7-4475-ABBC-8DF20BA6AAF0}"/>
              </a:ext>
            </a:extLst>
          </p:cNvPr>
          <p:cNvCxnSpPr>
            <a:cxnSpLocks/>
          </p:cNvCxnSpPr>
          <p:nvPr/>
        </p:nvCxnSpPr>
        <p:spPr bwMode="gray">
          <a:xfrm>
            <a:off x="1869310" y="3972749"/>
            <a:ext cx="5564657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997DEEA4-2D27-431C-A3DC-9399EF67A44A}"/>
              </a:ext>
            </a:extLst>
          </p:cNvPr>
          <p:cNvSpPr txBox="1">
            <a:spLocks/>
          </p:cNvSpPr>
          <p:nvPr/>
        </p:nvSpPr>
        <p:spPr>
          <a:xfrm>
            <a:off x="6147747" y="1173397"/>
            <a:ext cx="128622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0451246-D5B5-4B3D-B9A5-8D939A02B1BF}"/>
              </a:ext>
            </a:extLst>
          </p:cNvPr>
          <p:cNvSpPr txBox="1">
            <a:spLocks/>
          </p:cNvSpPr>
          <p:nvPr/>
        </p:nvSpPr>
        <p:spPr>
          <a:xfrm>
            <a:off x="1869310" y="1173397"/>
            <a:ext cx="4101617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F6BDB35-AEEC-4F22-9BB9-993A43547B46}"/>
              </a:ext>
            </a:extLst>
          </p:cNvPr>
          <p:cNvSpPr txBox="1">
            <a:spLocks/>
          </p:cNvSpPr>
          <p:nvPr/>
        </p:nvSpPr>
        <p:spPr>
          <a:xfrm>
            <a:off x="6147747" y="1684241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3D04B9FA-A88B-4727-B6F8-383338CCCD0C}"/>
              </a:ext>
            </a:extLst>
          </p:cNvPr>
          <p:cNvSpPr txBox="1">
            <a:spLocks/>
          </p:cNvSpPr>
          <p:nvPr/>
        </p:nvSpPr>
        <p:spPr>
          <a:xfrm>
            <a:off x="1869310" y="1684241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Zielsetzung des Steuerungskreises&gt;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179213E-4DDF-4811-9CBF-79ABDE60ED19}"/>
              </a:ext>
            </a:extLst>
          </p:cNvPr>
          <p:cNvSpPr txBox="1">
            <a:spLocks/>
          </p:cNvSpPr>
          <p:nvPr/>
        </p:nvSpPr>
        <p:spPr>
          <a:xfrm>
            <a:off x="6147747" y="3138098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EAFD5AF5-540D-46D7-9B41-0B652A58F8AC}"/>
              </a:ext>
            </a:extLst>
          </p:cNvPr>
          <p:cNvSpPr txBox="1">
            <a:spLocks/>
          </p:cNvSpPr>
          <p:nvPr/>
        </p:nvSpPr>
        <p:spPr>
          <a:xfrm>
            <a:off x="1869310" y="3138098"/>
            <a:ext cx="438908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bstimmung Themen mit Entscheidungsbedarf&gt;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C110964-D1FC-4501-8A5B-562BBA9BA267}"/>
              </a:ext>
            </a:extLst>
          </p:cNvPr>
          <p:cNvSpPr txBox="1">
            <a:spLocks/>
          </p:cNvSpPr>
          <p:nvPr/>
        </p:nvSpPr>
        <p:spPr>
          <a:xfrm>
            <a:off x="6147747" y="2168860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D50D6CE-D7EE-4226-B50B-55E55B011470}"/>
              </a:ext>
            </a:extLst>
          </p:cNvPr>
          <p:cNvSpPr txBox="1">
            <a:spLocks/>
          </p:cNvSpPr>
          <p:nvPr/>
        </p:nvSpPr>
        <p:spPr>
          <a:xfrm>
            <a:off x="1869310" y="2168860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Beschreibung der aktuellen Projektaktivitäten&gt;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6B32EA7-FDFF-46B6-A493-4D1E4D64AC38}"/>
              </a:ext>
            </a:extLst>
          </p:cNvPr>
          <p:cNvSpPr txBox="1">
            <a:spLocks/>
          </p:cNvSpPr>
          <p:nvPr/>
        </p:nvSpPr>
        <p:spPr>
          <a:xfrm>
            <a:off x="6147747" y="4107336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ACC72E9C-9D57-4098-A922-A70A64139205}"/>
              </a:ext>
            </a:extLst>
          </p:cNvPr>
          <p:cNvSpPr txBox="1">
            <a:spLocks/>
          </p:cNvSpPr>
          <p:nvPr/>
        </p:nvSpPr>
        <p:spPr>
          <a:xfrm>
            <a:off x="1869310" y="4107336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Festlegung der nächsten Schritte&gt;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DABA866-0CE2-483D-9FAD-FA32BEA4DBA4}"/>
              </a:ext>
            </a:extLst>
          </p:cNvPr>
          <p:cNvSpPr txBox="1">
            <a:spLocks/>
          </p:cNvSpPr>
          <p:nvPr/>
        </p:nvSpPr>
        <p:spPr>
          <a:xfrm>
            <a:off x="6147747" y="2653479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996ED4F-1C3A-4AAE-BEC0-171DCD1B9011}"/>
              </a:ext>
            </a:extLst>
          </p:cNvPr>
          <p:cNvSpPr txBox="1">
            <a:spLocks/>
          </p:cNvSpPr>
          <p:nvPr/>
        </p:nvSpPr>
        <p:spPr>
          <a:xfrm>
            <a:off x="1869310" y="2653479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Darstellung der inhaltlichen Umsetzung&gt;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52618569-495E-46F5-8879-8B3B55BCB6A7}"/>
              </a:ext>
            </a:extLst>
          </p:cNvPr>
          <p:cNvSpPr txBox="1">
            <a:spLocks/>
          </p:cNvSpPr>
          <p:nvPr/>
        </p:nvSpPr>
        <p:spPr>
          <a:xfrm>
            <a:off x="6147747" y="3622717"/>
            <a:ext cx="128622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Uhrzeit&gt;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EAB6215-05E0-4BC3-8120-9C829D214B8E}"/>
              </a:ext>
            </a:extLst>
          </p:cNvPr>
          <p:cNvSpPr txBox="1">
            <a:spLocks/>
          </p:cNvSpPr>
          <p:nvPr/>
        </p:nvSpPr>
        <p:spPr>
          <a:xfrm>
            <a:off x="1869310" y="3622717"/>
            <a:ext cx="41016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latin typeface="Arial" panose="020B0604020202020204" pitchFamily="34" charset="0"/>
                <a:cs typeface="Arial" panose="020B0604020202020204" pitchFamily="34" charset="0"/>
              </a:rPr>
              <a:t>&lt;Adressierung von Unterstützungsbedarfen&gt;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0581CE6-FFFB-4D57-BE7C-AE45B915AE46}"/>
              </a:ext>
            </a:extLst>
          </p:cNvPr>
          <p:cNvGrpSpPr/>
          <p:nvPr/>
        </p:nvGrpSpPr>
        <p:grpSpPr>
          <a:xfrm>
            <a:off x="5667437" y="1223502"/>
            <a:ext cx="246340" cy="260658"/>
            <a:chOff x="5451867" y="1215807"/>
            <a:chExt cx="246340" cy="260658"/>
          </a:xfrm>
        </p:grpSpPr>
        <p:sp>
          <p:nvSpPr>
            <p:cNvPr id="62" name="Freeform 73">
              <a:extLst>
                <a:ext uri="{FF2B5EF4-FFF2-40B4-BE49-F238E27FC236}">
                  <a16:creationId xmlns:a16="http://schemas.microsoft.com/office/drawing/2014/main" id="{8A928985-D1C4-49F9-B369-59FA14158C94}"/>
                </a:ext>
              </a:extLst>
            </p:cNvPr>
            <p:cNvSpPr>
              <a:spLocks/>
            </p:cNvSpPr>
            <p:nvPr/>
          </p:nvSpPr>
          <p:spPr bwMode="gray">
            <a:xfrm>
              <a:off x="5451867" y="1215807"/>
              <a:ext cx="227063" cy="260459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Freeform 24">
              <a:extLst>
                <a:ext uri="{FF2B5EF4-FFF2-40B4-BE49-F238E27FC236}">
                  <a16:creationId xmlns:a16="http://schemas.microsoft.com/office/drawing/2014/main" id="{13ED7019-C822-445F-A2FE-B60196C665F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516139" y="1294115"/>
              <a:ext cx="182068" cy="182350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4" name="Freeform 71">
            <a:extLst>
              <a:ext uri="{FF2B5EF4-FFF2-40B4-BE49-F238E27FC236}">
                <a16:creationId xmlns:a16="http://schemas.microsoft.com/office/drawing/2014/main" id="{07559066-6602-463F-938B-093DA30A4F15}"/>
              </a:ext>
            </a:extLst>
          </p:cNvPr>
          <p:cNvSpPr>
            <a:spLocks noChangeAspect="1"/>
          </p:cNvSpPr>
          <p:nvPr/>
        </p:nvSpPr>
        <p:spPr bwMode="gray">
          <a:xfrm>
            <a:off x="7116190" y="1223681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984227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1BC1B6E-551C-490B-915B-251D5BE2AA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3706786"/>
              </p:ext>
            </p:extLst>
          </p:nvPr>
        </p:nvGraphicFramePr>
        <p:xfrm>
          <a:off x="1656" y="16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1BC1B6E-551C-490B-915B-251D5BE2AA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56" y="16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FFC92CE-40DD-4DE0-ACE4-0FB79B70C7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0540B3CA-B999-4972-BFAC-A60AD64A5601}"/>
              </a:ext>
            </a:extLst>
          </p:cNvPr>
          <p:cNvSpPr>
            <a:spLocks/>
          </p:cNvSpPr>
          <p:nvPr/>
        </p:nvSpPr>
        <p:spPr>
          <a:xfrm>
            <a:off x="0" y="1403011"/>
            <a:ext cx="9143999" cy="66554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2F0E4A7D-D23C-49E7-BB79-292E1FFD4F1C}"/>
              </a:ext>
            </a:extLst>
          </p:cNvPr>
          <p:cNvSpPr>
            <a:spLocks/>
          </p:cNvSpPr>
          <p:nvPr/>
        </p:nvSpPr>
        <p:spPr>
          <a:xfrm>
            <a:off x="0" y="2235218"/>
            <a:ext cx="9143999" cy="66554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AF3D49D-41B1-4A06-B0A5-84F094F21C41}"/>
              </a:ext>
            </a:extLst>
          </p:cNvPr>
          <p:cNvSpPr>
            <a:spLocks/>
          </p:cNvSpPr>
          <p:nvPr/>
        </p:nvSpPr>
        <p:spPr>
          <a:xfrm>
            <a:off x="0" y="3067425"/>
            <a:ext cx="9143999" cy="665544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AA3B14E3-CACA-4DF6-959F-D87CF746A239}"/>
              </a:ext>
            </a:extLst>
          </p:cNvPr>
          <p:cNvSpPr>
            <a:spLocks/>
          </p:cNvSpPr>
          <p:nvPr/>
        </p:nvSpPr>
        <p:spPr>
          <a:xfrm>
            <a:off x="0" y="3899633"/>
            <a:ext cx="9143999" cy="665544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600" dirty="0" err="1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83FB57-ABC7-4743-9FE8-F65F7EC77E4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estlegung der nächsten Schritte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43C2CF0-C0E8-4955-9B41-747AD4326008}"/>
              </a:ext>
            </a:extLst>
          </p:cNvPr>
          <p:cNvSpPr txBox="1">
            <a:spLocks/>
          </p:cNvSpPr>
          <p:nvPr/>
        </p:nvSpPr>
        <p:spPr>
          <a:xfrm>
            <a:off x="7910635" y="1136910"/>
            <a:ext cx="9052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datum 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49A5F964-63E7-4208-8A66-44E2540753B5}"/>
              </a:ext>
            </a:extLst>
          </p:cNvPr>
          <p:cNvSpPr txBox="1">
            <a:spLocks/>
          </p:cNvSpPr>
          <p:nvPr/>
        </p:nvSpPr>
        <p:spPr>
          <a:xfrm>
            <a:off x="7910635" y="2460268"/>
            <a:ext cx="9052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1215FD8-22C6-4FF2-A97B-3E7320912498}"/>
              </a:ext>
            </a:extLst>
          </p:cNvPr>
          <p:cNvSpPr txBox="1">
            <a:spLocks/>
          </p:cNvSpPr>
          <p:nvPr/>
        </p:nvSpPr>
        <p:spPr>
          <a:xfrm>
            <a:off x="7910635" y="1628061"/>
            <a:ext cx="9052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id="{8C2C286C-A9A5-42F2-8041-36F70C47329D}"/>
              </a:ext>
            </a:extLst>
          </p:cNvPr>
          <p:cNvSpPr txBox="1">
            <a:spLocks/>
          </p:cNvSpPr>
          <p:nvPr/>
        </p:nvSpPr>
        <p:spPr>
          <a:xfrm>
            <a:off x="7910635" y="3292475"/>
            <a:ext cx="9052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E5C284B-E2D7-470B-B822-E5AFF632BDF5}"/>
              </a:ext>
            </a:extLst>
          </p:cNvPr>
          <p:cNvSpPr txBox="1">
            <a:spLocks/>
          </p:cNvSpPr>
          <p:nvPr/>
        </p:nvSpPr>
        <p:spPr>
          <a:xfrm>
            <a:off x="487361" y="2460268"/>
            <a:ext cx="46783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Nächste Schritte&gt;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8971B82-1F39-432E-A84B-7692ACD83FD4}"/>
              </a:ext>
            </a:extLst>
          </p:cNvPr>
          <p:cNvSpPr txBox="1">
            <a:spLocks/>
          </p:cNvSpPr>
          <p:nvPr/>
        </p:nvSpPr>
        <p:spPr>
          <a:xfrm>
            <a:off x="487361" y="1628061"/>
            <a:ext cx="46783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Nächste Schritte&gt;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B067B47E-32ED-4C43-A224-147DAEEB6FDA}"/>
              </a:ext>
            </a:extLst>
          </p:cNvPr>
          <p:cNvSpPr txBox="1">
            <a:spLocks/>
          </p:cNvSpPr>
          <p:nvPr/>
        </p:nvSpPr>
        <p:spPr>
          <a:xfrm>
            <a:off x="487361" y="3292475"/>
            <a:ext cx="46783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Nächste Schritte&gt;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7A3307-3FD9-4FBE-A7C2-4253920681A6}"/>
              </a:ext>
            </a:extLst>
          </p:cNvPr>
          <p:cNvSpPr txBox="1">
            <a:spLocks/>
          </p:cNvSpPr>
          <p:nvPr/>
        </p:nvSpPr>
        <p:spPr>
          <a:xfrm>
            <a:off x="487361" y="4124683"/>
            <a:ext cx="467831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Nächste Schritte&gt;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E554BF0A-E897-4E64-A8D6-76DA0DEABEF7}"/>
              </a:ext>
            </a:extLst>
          </p:cNvPr>
          <p:cNvSpPr txBox="1">
            <a:spLocks/>
          </p:cNvSpPr>
          <p:nvPr/>
        </p:nvSpPr>
        <p:spPr>
          <a:xfrm>
            <a:off x="7910635" y="4124683"/>
            <a:ext cx="90527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.XX</a:t>
            </a:r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FCB07EB-4195-429B-892C-27F01E065FE8}"/>
              </a:ext>
            </a:extLst>
          </p:cNvPr>
          <p:cNvSpPr txBox="1">
            <a:spLocks/>
          </p:cNvSpPr>
          <p:nvPr/>
        </p:nvSpPr>
        <p:spPr>
          <a:xfrm>
            <a:off x="5743827" y="1136910"/>
            <a:ext cx="15886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antwortliche/r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D1601968-E4AB-46E4-B4FD-0C9E6AFDCF03}"/>
              </a:ext>
            </a:extLst>
          </p:cNvPr>
          <p:cNvSpPr txBox="1">
            <a:spLocks/>
          </p:cNvSpPr>
          <p:nvPr/>
        </p:nvSpPr>
        <p:spPr>
          <a:xfrm>
            <a:off x="5743827" y="2460268"/>
            <a:ext cx="15886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008D54F-A358-4B1D-B5DD-799076F373CD}"/>
              </a:ext>
            </a:extLst>
          </p:cNvPr>
          <p:cNvSpPr txBox="1">
            <a:spLocks/>
          </p:cNvSpPr>
          <p:nvPr/>
        </p:nvSpPr>
        <p:spPr>
          <a:xfrm>
            <a:off x="5743827" y="1628061"/>
            <a:ext cx="15886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D82567C5-7956-412C-B4E8-C945DC563AE8}"/>
              </a:ext>
            </a:extLst>
          </p:cNvPr>
          <p:cNvSpPr txBox="1">
            <a:spLocks/>
          </p:cNvSpPr>
          <p:nvPr/>
        </p:nvSpPr>
        <p:spPr>
          <a:xfrm>
            <a:off x="5743827" y="3292475"/>
            <a:ext cx="15886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9D9D0731-E0CB-447B-805B-3F332DE7DC35}"/>
              </a:ext>
            </a:extLst>
          </p:cNvPr>
          <p:cNvSpPr txBox="1">
            <a:spLocks/>
          </p:cNvSpPr>
          <p:nvPr/>
        </p:nvSpPr>
        <p:spPr>
          <a:xfrm>
            <a:off x="5743827" y="4124683"/>
            <a:ext cx="15886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Bitte befüllen&gt;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02308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851A46C0-9257-4C41-9B22-495359CEA5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384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851A46C0-9257-4C41-9B22-495359CEA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ED35C0A8-7F1D-44CF-8813-CDF5DE0241E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814ECA-51A2-3D46-B481-1CAF785A8780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Zielsetzung der Unterlag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A6A86FF-C646-4CA8-B7CD-2A1394EB293B}"/>
              </a:ext>
            </a:extLst>
          </p:cNvPr>
          <p:cNvSpPr txBox="1">
            <a:spLocks/>
          </p:cNvSpPr>
          <p:nvPr/>
        </p:nvSpPr>
        <p:spPr>
          <a:xfrm>
            <a:off x="487362" y="847951"/>
            <a:ext cx="83285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4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uerungskrei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51118E1-5EA8-47D7-8F77-87091BC941D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7362" y="1121318"/>
            <a:ext cx="8328552" cy="218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defTabSz="914400">
              <a:buClrTx/>
            </a:pP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r regelmäßige Austausch durch einen Steuerungskreis fördert die Zusammenarbeit alle 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OZG-Mitwirkenden innerhalb der OZG-Umsetzung </a:t>
            </a: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 ermöglicht eine schnelle Lösungsfindung bei auftretenden Herausforderungen. Es können mehrere Steuerungskreise in einem Themenfeld auf den verschiedenen Ebenen (d.h. Themenfeld übergreifend, innerhalb eines Labors /Umsetzungsprojekts und/oder ggf. je OZG-Leistung) stattfinden. </a:t>
            </a:r>
          </a:p>
          <a:p>
            <a:pPr defTabSz="914400">
              <a:buClrTx/>
            </a:pPr>
            <a:endParaRPr lang="de-DE" sz="14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defTabSz="914400">
              <a:buClrTx/>
            </a:pPr>
            <a:r>
              <a:rPr lang="de-DE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nachfolgende Unterlage unterstützt bei der Vorbereitung des Steuerungskreises und stellt eine einheitliche Kommunikation sicher. Die Vorlage kann individuell angepasst werden und soll als Beispiel dienen.</a:t>
            </a:r>
          </a:p>
          <a:p>
            <a:pPr lvl="0" defTabSz="914400">
              <a:buClrTx/>
            </a:pPr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7763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18938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1FE7CDA-5742-4A3E-AAC1-0C623EAF0B16}"/>
              </a:ext>
            </a:extLst>
          </p:cNvPr>
          <p:cNvCxnSpPr>
            <a:cxnSpLocks/>
          </p:cNvCxnSpPr>
          <p:nvPr/>
        </p:nvCxnSpPr>
        <p:spPr>
          <a:xfrm>
            <a:off x="4651638" y="1394393"/>
            <a:ext cx="0" cy="164861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3">
            <a:extLst>
              <a:ext uri="{FF2B5EF4-FFF2-40B4-BE49-F238E27FC236}">
                <a16:creationId xmlns:a16="http://schemas.microsoft.com/office/drawing/2014/main" id="{9D77F719-F805-48B2-85B7-52530851C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62" y="285784"/>
            <a:ext cx="8328552" cy="738664"/>
          </a:xfrm>
        </p:spPr>
        <p:txBody>
          <a:bodyPr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Ein Steuerungskreis gewährleistet einen engen Austausch und Zusammenarbeit innerhalb der OZG-Umsetzu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2C2873-C58D-42EB-9C18-08EA43CB3A70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84420" y="1394393"/>
            <a:ext cx="3931494" cy="1282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Diskussion der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altlichen Laborarbeit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, z.B. Erkenntnisse aus IST-Analyse, Nutzerfeedback, aktueller Stand SOLL-Prozess, Teilen von themenfeldübergreifenden Erkenntnissen</a:t>
            </a:r>
          </a:p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Überblick über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ktaktivitäten und den Fortschritt der OZG-Umsetzung </a:t>
            </a:r>
          </a:p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Aufbereitung von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scheidungsgrundlagen,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z.B. adressieren von Unterstützungsbedarfen durch Beteiligte des Steuerungskreises und Festlegen nächster Schritt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A8448C2-D076-44D5-A3E2-691E66A48102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87362" y="1394392"/>
            <a:ext cx="3931494" cy="1600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er Austausch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im Umsetzungsteam sowie zwischen Umsetzungsteams und den übergreifenden OZG-Verantwortlichen im Themenfeld sowie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örderung der Zusammenarbeit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(ggf. ebenfalls mit anderen Ländern), indem Ergebnisse der Themenfeldarbeit vorgestellt werden</a:t>
            </a:r>
          </a:p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Nachhalten des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tschritts der OZG-Umsetzung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und gezielte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ßnahmenergreifung </a:t>
            </a:r>
          </a:p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immung und Freigabe von Endprodukten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(z.B. IST-Analyse; Ziel-Prozess, FIM-Referenzprozess) sowie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ressierung von Unterstützungsbedarfen</a:t>
            </a:r>
            <a:endParaRPr lang="de-DE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6F20AE0-0CAF-40B5-B949-6A3F3B2F492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884420" y="3465604"/>
            <a:ext cx="3931494" cy="846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scheidungsträger*innen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 im federführenden Themenfeld (z.B. 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OZG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-Koordinator*in)</a:t>
            </a:r>
          </a:p>
          <a:p>
            <a:pPr lvl="1">
              <a:spcBef>
                <a:spcPts val="300"/>
              </a:spcBef>
            </a:pP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setzungsteam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, ggf. weitere 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OZG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-Mitwirkende des eigenen Landes</a:t>
            </a:r>
          </a:p>
          <a:p>
            <a:pPr lvl="1">
              <a:spcBef>
                <a:spcPts val="300"/>
              </a:spcBef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Ggf.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itere OZG-Mitwirkende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anderer Lände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AA7883-9028-40F0-A14C-40CD5D8A60D4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87362" y="3465604"/>
            <a:ext cx="3931494" cy="1192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weiwöchiger Regeltermin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für ca. 1 Stunde </a:t>
            </a:r>
          </a:p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setzung einer Konferenz 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(Telefonkonferenz, ggf. persönliches Gespräch); entsprechende digitale Infrastruktur zur Einrichtung einer Telefonkonferenz notwendig</a:t>
            </a:r>
          </a:p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Vorbereitung einer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lage</a:t>
            </a:r>
          </a:p>
          <a:p>
            <a:pPr lvl="1">
              <a:spcBef>
                <a:spcPts val="153"/>
              </a:spcBef>
              <a:buFont typeface="Symbol" panose="05050102010706020507" pitchFamily="18" charset="2"/>
              <a:buChar char="-"/>
            </a:pP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Nachbereitung des Steuerungskreises durch Versand einer </a:t>
            </a:r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usammenfassung</a:t>
            </a:r>
          </a:p>
          <a:p>
            <a:pPr lvl="1">
              <a:spcBef>
                <a:spcPts val="300"/>
              </a:spcBef>
            </a:pPr>
            <a:endParaRPr lang="de-DE" sz="10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FC2A37-FF58-4CFB-A092-ED7118AC8F4A}"/>
              </a:ext>
            </a:extLst>
          </p:cNvPr>
          <p:cNvCxnSpPr>
            <a:cxnSpLocks/>
          </p:cNvCxnSpPr>
          <p:nvPr/>
        </p:nvCxnSpPr>
        <p:spPr>
          <a:xfrm>
            <a:off x="487362" y="1340342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BAD2315F-4418-4E12-8B86-691926613264}"/>
              </a:ext>
            </a:extLst>
          </p:cNvPr>
          <p:cNvSpPr txBox="1">
            <a:spLocks/>
          </p:cNvSpPr>
          <p:nvPr/>
        </p:nvSpPr>
        <p:spPr>
          <a:xfrm>
            <a:off x="4884420" y="1155974"/>
            <a:ext cx="39314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halte des Steuerungskreise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B8629C0-B7DD-4DB3-BE62-785B878B8512}"/>
              </a:ext>
            </a:extLst>
          </p:cNvPr>
          <p:cNvSpPr txBox="1">
            <a:spLocks/>
          </p:cNvSpPr>
          <p:nvPr/>
        </p:nvSpPr>
        <p:spPr>
          <a:xfrm>
            <a:off x="487362" y="1155974"/>
            <a:ext cx="39314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ele des Steuerungskreises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FA2A906-126B-4888-AC4B-583BECEB4536}"/>
              </a:ext>
            </a:extLst>
          </p:cNvPr>
          <p:cNvGrpSpPr/>
          <p:nvPr>
            <p:custDataLst>
              <p:tags r:id="rId8"/>
            </p:custDataLst>
          </p:nvPr>
        </p:nvGrpSpPr>
        <p:grpSpPr bwMode="gray">
          <a:xfrm>
            <a:off x="4513896" y="1158984"/>
            <a:ext cx="275483" cy="362715"/>
            <a:chOff x="4015770" y="4870640"/>
            <a:chExt cx="338248" cy="468123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AB75DB4F-AE98-42D6-90E0-B1BC4CCB4FA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15770" y="4870640"/>
              <a:ext cx="338248" cy="46812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square" lIns="69973" tIns="34987" rIns="69973" bIns="34987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699722"/>
              <a:endParaRPr lang="en-US"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84B3E53-D601-4945-8EE8-00C0091449D6}"/>
                </a:ext>
              </a:extLst>
            </p:cNvPr>
            <p:cNvGrpSpPr/>
            <p:nvPr/>
          </p:nvGrpSpPr>
          <p:grpSpPr bwMode="gray">
            <a:xfrm>
              <a:off x="4028548" y="4914160"/>
              <a:ext cx="312692" cy="381083"/>
              <a:chOff x="4455354" y="5002096"/>
              <a:chExt cx="312692" cy="381083"/>
            </a:xfrm>
          </p:grpSpPr>
          <p:sp>
            <p:nvSpPr>
              <p:cNvPr id="49" name="Chevron 5">
                <a:extLst>
                  <a:ext uri="{FF2B5EF4-FFF2-40B4-BE49-F238E27FC236}">
                    <a16:creationId xmlns:a16="http://schemas.microsoft.com/office/drawing/2014/main" id="{269FB728-6A63-49EE-9B15-CAF6C365A405}"/>
                  </a:ext>
                </a:extLst>
              </p:cNvPr>
              <p:cNvSpPr/>
              <p:nvPr/>
            </p:nvSpPr>
            <p:spPr bwMode="gray">
              <a:xfrm>
                <a:off x="4455354" y="5053820"/>
                <a:ext cx="163405" cy="277635"/>
              </a:xfrm>
              <a:prstGeom prst="chevron">
                <a:avLst>
                  <a:gd name="adj" fmla="val 52914"/>
                </a:avLst>
              </a:prstGeom>
              <a:solidFill>
                <a:schemeClr val="accent6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73" tIns="34987" rIns="69973" bIns="34987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722"/>
                <a:endParaRPr lang="en-US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3" name="Chevron 6">
                <a:extLst>
                  <a:ext uri="{FF2B5EF4-FFF2-40B4-BE49-F238E27FC236}">
                    <a16:creationId xmlns:a16="http://schemas.microsoft.com/office/drawing/2014/main" id="{1EE697C4-E715-4B4E-B69C-89C8B64A5A55}"/>
                  </a:ext>
                </a:extLst>
              </p:cNvPr>
              <p:cNvSpPr/>
              <p:nvPr/>
            </p:nvSpPr>
            <p:spPr bwMode="gray">
              <a:xfrm>
                <a:off x="4543756" y="5002096"/>
                <a:ext cx="224290" cy="381083"/>
              </a:xfrm>
              <a:prstGeom prst="chevron">
                <a:avLst>
                  <a:gd name="adj" fmla="val 52914"/>
                </a:avLst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horz" wrap="square" lIns="69973" tIns="34987" rIns="69973" bIns="34987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699722"/>
                <a:endParaRPr lang="en-US" sz="10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5426C58D-3DD4-4DEC-A05E-500800774E6D}"/>
              </a:ext>
            </a:extLst>
          </p:cNvPr>
          <p:cNvSpPr txBox="1">
            <a:spLocks/>
          </p:cNvSpPr>
          <p:nvPr/>
        </p:nvSpPr>
        <p:spPr>
          <a:xfrm>
            <a:off x="4884420" y="3227184"/>
            <a:ext cx="39314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ilnehmer*inn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7465A7C-194F-4796-A117-3D0EF94BA5FD}"/>
              </a:ext>
            </a:extLst>
          </p:cNvPr>
          <p:cNvSpPr txBox="1">
            <a:spLocks/>
          </p:cNvSpPr>
          <p:nvPr/>
        </p:nvSpPr>
        <p:spPr>
          <a:xfrm>
            <a:off x="487362" y="3227184"/>
            <a:ext cx="393149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0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sation</a:t>
            </a: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FD15FB4B-58E8-4C5B-8DE0-0B3CE3E2DCC3}"/>
              </a:ext>
            </a:extLst>
          </p:cNvPr>
          <p:cNvCxnSpPr>
            <a:cxnSpLocks/>
          </p:cNvCxnSpPr>
          <p:nvPr/>
        </p:nvCxnSpPr>
        <p:spPr>
          <a:xfrm>
            <a:off x="487362" y="3411552"/>
            <a:ext cx="3931494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D7B61071-D75E-472F-BEC3-1F18B43AC972}"/>
              </a:ext>
            </a:extLst>
          </p:cNvPr>
          <p:cNvCxnSpPr>
            <a:cxnSpLocks/>
          </p:cNvCxnSpPr>
          <p:nvPr/>
        </p:nvCxnSpPr>
        <p:spPr>
          <a:xfrm>
            <a:off x="4884420" y="3411552"/>
            <a:ext cx="3931494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169374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5587EDA-42AF-41A7-9312-16DC5963CCDF}"/>
              </a:ext>
            </a:extLst>
          </p:cNvPr>
          <p:cNvCxnSpPr>
            <a:cxnSpLocks/>
          </p:cNvCxnSpPr>
          <p:nvPr/>
        </p:nvCxnSpPr>
        <p:spPr>
          <a:xfrm>
            <a:off x="487362" y="1568970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1">
            <a:extLst>
              <a:ext uri="{FF2B5EF4-FFF2-40B4-BE49-F238E27FC236}">
                <a16:creationId xmlns:a16="http://schemas.microsoft.com/office/drawing/2014/main" id="{2794E148-55E9-443E-9372-1A7E877B9F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62" y="285784"/>
            <a:ext cx="8328552" cy="738664"/>
          </a:xfrm>
        </p:spPr>
        <p:txBody>
          <a:bodyPr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r Steuerungskreis wird durch das Umsetzungsteam organisiert und vorbereite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056BB55-9F66-44DF-93A1-2557E6661DEF}"/>
              </a:ext>
            </a:extLst>
          </p:cNvPr>
          <p:cNvSpPr txBox="1">
            <a:spLocks/>
          </p:cNvSpPr>
          <p:nvPr/>
        </p:nvSpPr>
        <p:spPr>
          <a:xfrm>
            <a:off x="1783080" y="1321276"/>
            <a:ext cx="451866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gabenbeschreibung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4845E08-0DE4-4C2B-BB8E-B36E0DCABFC9}"/>
              </a:ext>
            </a:extLst>
          </p:cNvPr>
          <p:cNvSpPr txBox="1">
            <a:spLocks/>
          </p:cNvSpPr>
          <p:nvPr/>
        </p:nvSpPr>
        <p:spPr>
          <a:xfrm>
            <a:off x="487362" y="1321276"/>
            <a:ext cx="10975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gab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F74BBD4D-E43B-49E9-804F-AFB65D53940B}"/>
              </a:ext>
            </a:extLst>
          </p:cNvPr>
          <p:cNvGrpSpPr/>
          <p:nvPr/>
        </p:nvGrpSpPr>
        <p:grpSpPr>
          <a:xfrm>
            <a:off x="487362" y="3174461"/>
            <a:ext cx="8328552" cy="1269578"/>
            <a:chOff x="487362" y="1680941"/>
            <a:chExt cx="8328552" cy="1269578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0C854103-6A16-4181-903D-131016A38AF5}"/>
                </a:ext>
              </a:extLst>
            </p:cNvPr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783080" y="1680941"/>
              <a:ext cx="4518660" cy="11464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pPr lvl="1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Festlegung relevanter </a:t>
              </a:r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men des Steuerungskreises </a:t>
              </a:r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(ggf. auch mit Hilfe von Regelagenda)</a:t>
              </a:r>
              <a:endParaRPr lang="de-DE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1"/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fbereitung </a:t>
              </a:r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der </a:t>
              </a:r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sentlichen Inhalte</a:t>
              </a:r>
            </a:p>
            <a:p>
              <a:pPr lvl="1"/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rbereitung</a:t>
              </a:r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 der </a:t>
              </a:r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scheidungsgrundlagen</a:t>
              </a:r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 sowie ggf. erste Handlungsempfehlungen</a:t>
              </a:r>
            </a:p>
            <a:p>
              <a:pPr lvl="1">
                <a:spcBef>
                  <a:spcPts val="300"/>
                </a:spcBef>
              </a:pPr>
              <a:endParaRPr lang="de-DE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9961FE9-A821-4355-83C3-9D15F33B190C}"/>
                </a:ext>
              </a:extLst>
            </p:cNvPr>
            <p:cNvSpPr txBox="1">
              <a:spLocks/>
            </p:cNvSpPr>
            <p:nvPr/>
          </p:nvSpPr>
          <p:spPr>
            <a:xfrm>
              <a:off x="487362" y="1680941"/>
              <a:ext cx="1097598" cy="126957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haltliche </a:t>
              </a:r>
              <a:r>
                <a:rPr lang="de-DE" sz="12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rberei-tung</a:t>
              </a:r>
              <a:endPara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FA65BF6-CE3E-4F58-9A92-A60DBC2372DC}"/>
                </a:ext>
              </a:extLst>
            </p:cNvPr>
            <p:cNvSpPr txBox="1">
              <a:spLocks/>
            </p:cNvSpPr>
            <p:nvPr/>
          </p:nvSpPr>
          <p:spPr>
            <a:xfrm>
              <a:off x="6499860" y="1680941"/>
              <a:ext cx="2316054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Umsetzungskoordinator*in; Leistungsverantwortliche*r; </a:t>
              </a:r>
            </a:p>
            <a:p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(Umsetzungsteam)</a:t>
              </a:r>
            </a:p>
            <a:p>
              <a:endParaRPr lang="de-DE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A8A9A71-B1A7-43DD-AC62-4BF3CF487BF7}"/>
              </a:ext>
            </a:extLst>
          </p:cNvPr>
          <p:cNvGrpSpPr/>
          <p:nvPr/>
        </p:nvGrpSpPr>
        <p:grpSpPr>
          <a:xfrm>
            <a:off x="487362" y="1667333"/>
            <a:ext cx="8328552" cy="1269578"/>
            <a:chOff x="487362" y="3174461"/>
            <a:chExt cx="8328552" cy="1269578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EDF1E60-B615-4134-989D-45ED370271B3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783080" y="3174461"/>
              <a:ext cx="4518660" cy="126957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pPr lvl="1"/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stlegung des Teilnehmerkreises </a:t>
              </a:r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und Abstimmung über Frequenz</a:t>
              </a:r>
            </a:p>
            <a:p>
              <a:pPr lvl="1"/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Organisation eines </a:t>
              </a:r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eltermins</a:t>
              </a:r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 sowie </a:t>
              </a:r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ufsetzung einer Telefonkonferenz </a:t>
              </a:r>
            </a:p>
            <a:p>
              <a:pPr lvl="1"/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rsand der Unterlage </a:t>
              </a:r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im Vorfeld sowie einer </a:t>
              </a:r>
              <a:r>
                <a:rPr lang="de-DE" sz="12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usammenfassung</a:t>
              </a:r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 im Anschluss an den Steuerungskreis</a:t>
              </a:r>
            </a:p>
            <a:p>
              <a:pPr lvl="1">
                <a:spcBef>
                  <a:spcPts val="300"/>
                </a:spcBef>
              </a:pPr>
              <a:endParaRPr lang="de-DE" sz="1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7BF0414-BF32-4463-B390-F7E60009EC1C}"/>
                </a:ext>
              </a:extLst>
            </p:cNvPr>
            <p:cNvSpPr txBox="1">
              <a:spLocks/>
            </p:cNvSpPr>
            <p:nvPr/>
          </p:nvSpPr>
          <p:spPr>
            <a:xfrm>
              <a:off x="487362" y="3174461"/>
              <a:ext cx="1097598" cy="126957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2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rganisa-torische</a:t>
              </a:r>
              <a:r>
                <a:rPr lang="de-DE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e-DE" sz="12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rberei-tung</a:t>
              </a:r>
              <a:endPara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063FFBD-97F6-4018-8C26-0CD741656FE0}"/>
                </a:ext>
              </a:extLst>
            </p:cNvPr>
            <p:cNvSpPr txBox="1">
              <a:spLocks/>
            </p:cNvSpPr>
            <p:nvPr/>
          </p:nvSpPr>
          <p:spPr>
            <a:xfrm>
              <a:off x="6499860" y="3174461"/>
              <a:ext cx="2316054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671496" eaLnBrk="1" hangingPunct="1">
                <a:buClr>
                  <a:schemeClr val="tx2"/>
                </a:buClr>
                <a:defRPr sz="1600" baseline="0">
                  <a:latin typeface="+mn-lt"/>
                </a:defRPr>
              </a:lvl1pPr>
              <a:lvl2pPr marL="180000" lvl="1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2pPr>
              <a:lvl3pPr marL="360000" lvl="2" indent="-180000" defTabSz="671496" eaLnBrk="1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sz="1600" baseline="0">
                  <a:latin typeface="+mn-lt"/>
                </a:defRPr>
              </a:lvl3pPr>
              <a:lvl4pPr marL="540000" lvl="3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sz="1600" baseline="0">
                  <a:latin typeface="+mn-lt"/>
                </a:defRPr>
              </a:lvl4pPr>
              <a:lvl5pPr marL="720000" lvl="4" indent="-180000" defTabSz="671496" eaLnBrk="1" hangingPunct="1">
                <a:buClr>
                  <a:schemeClr val="tx2"/>
                </a:buClr>
                <a:buSzPct val="100000"/>
                <a:buFont typeface="Calibri" panose="020F0502020204030204" pitchFamily="34" charset="0"/>
                <a:buChar char="»"/>
                <a:defRPr sz="1600" baseline="0">
                  <a:latin typeface="+mn-lt"/>
                </a:defRPr>
              </a:lvl5pPr>
              <a:lvl6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6pPr>
              <a:lvl7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7pPr>
              <a:lvl8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8pPr>
              <a:lvl9pPr marL="562342" indent="-97628" defTabSz="67149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200" baseline="0">
                  <a:latin typeface="+mn-lt"/>
                </a:defRPr>
              </a:lvl9pPr>
            </a:lstStyle>
            <a:p>
              <a:r>
                <a:rPr lang="de-DE" sz="1200" dirty="0">
                  <a:latin typeface="Arial" panose="020B0604020202020204" pitchFamily="34" charset="0"/>
                  <a:cs typeface="Arial" panose="020B0604020202020204" pitchFamily="34" charset="0"/>
                </a:rPr>
                <a:t>Umsetzungskoordinator*in; Leistungsverantwortliche*r;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7AF6EDA4-1CB0-4891-8957-3592C524C391}"/>
              </a:ext>
            </a:extLst>
          </p:cNvPr>
          <p:cNvSpPr txBox="1">
            <a:spLocks/>
          </p:cNvSpPr>
          <p:nvPr/>
        </p:nvSpPr>
        <p:spPr>
          <a:xfrm>
            <a:off x="6499860" y="1321276"/>
            <a:ext cx="231605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antwortlichkeit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1CC142E-7355-4966-9858-4D076F380529}"/>
              </a:ext>
            </a:extLst>
          </p:cNvPr>
          <p:cNvCxnSpPr>
            <a:cxnSpLocks/>
          </p:cNvCxnSpPr>
          <p:nvPr/>
        </p:nvCxnSpPr>
        <p:spPr>
          <a:xfrm>
            <a:off x="487362" y="4556010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3AD8CCE-B953-4A2F-A5FB-E68C15C60359}"/>
              </a:ext>
            </a:extLst>
          </p:cNvPr>
          <p:cNvCxnSpPr>
            <a:cxnSpLocks/>
          </p:cNvCxnSpPr>
          <p:nvPr/>
        </p:nvCxnSpPr>
        <p:spPr>
          <a:xfrm>
            <a:off x="487362" y="3062490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811590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10FD61-BB97-4C42-8B2A-342F865F438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4203368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4" progId="TCLayout.ActiveDocument.1">
                  <p:embed/>
                </p:oleObj>
              </mc:Choice>
              <mc:Fallback>
                <p:oleObj name="think-cell Slide" r:id="rId12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10FD61-BB97-4C42-8B2A-342F865F43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936DE4C-F597-477D-AFF1-BC286A3660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9D8958B6-D2BA-4A07-BE1C-412ED80C098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Der Steuerungskreis kann beispielsweise aus sechs Bausteinen bestehen 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FED4748-4974-4389-B30E-995690D02864}"/>
              </a:ext>
            </a:extLst>
          </p:cNvPr>
          <p:cNvCxnSpPr>
            <a:cxnSpLocks/>
          </p:cNvCxnSpPr>
          <p:nvPr/>
        </p:nvCxnSpPr>
        <p:spPr>
          <a:xfrm>
            <a:off x="487362" y="1404189"/>
            <a:ext cx="792212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6AEABD4-288D-4808-8A58-E70BC9494400}"/>
              </a:ext>
            </a:extLst>
          </p:cNvPr>
          <p:cNvSpPr txBox="1">
            <a:spLocks/>
          </p:cNvSpPr>
          <p:nvPr/>
        </p:nvSpPr>
        <p:spPr>
          <a:xfrm>
            <a:off x="591097" y="1630867"/>
            <a:ext cx="4235736" cy="3035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txBody>
          <a:bodyPr vert="horz" wrap="square" lIns="165291" tIns="55104" rIns="55104" bIns="551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elsetzung des Steuerungskreis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85BA552-FC3D-4B4D-9D48-6764833B0AC5}"/>
              </a:ext>
            </a:extLst>
          </p:cNvPr>
          <p:cNvSpPr txBox="1">
            <a:spLocks/>
          </p:cNvSpPr>
          <p:nvPr/>
        </p:nvSpPr>
        <p:spPr>
          <a:xfrm>
            <a:off x="591097" y="2658998"/>
            <a:ext cx="4235736" cy="3035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txBody>
          <a:bodyPr vert="horz" wrap="square" lIns="165291" tIns="55104" rIns="55104" bIns="551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stellung der inhaltlichen Umsetzu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DF14886-3D64-4666-9E74-76429782C878}"/>
              </a:ext>
            </a:extLst>
          </p:cNvPr>
          <p:cNvSpPr txBox="1">
            <a:spLocks/>
          </p:cNvSpPr>
          <p:nvPr/>
        </p:nvSpPr>
        <p:spPr>
          <a:xfrm>
            <a:off x="591096" y="3174017"/>
            <a:ext cx="4235736" cy="3035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txBody>
          <a:bodyPr vert="horz" wrap="square" lIns="165291" tIns="55104" rIns="55104" bIns="551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stimmung Themen mit Entscheidungsbedarf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55DA3F9-BEA8-49D4-BCCA-A389D613DB7B}"/>
              </a:ext>
            </a:extLst>
          </p:cNvPr>
          <p:cNvSpPr txBox="1">
            <a:spLocks/>
          </p:cNvSpPr>
          <p:nvPr/>
        </p:nvSpPr>
        <p:spPr>
          <a:xfrm>
            <a:off x="591097" y="4204053"/>
            <a:ext cx="4235736" cy="3035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txBody>
          <a:bodyPr vert="horz" wrap="square" lIns="165291" tIns="55104" rIns="55104" bIns="551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stlegung der nächsten Schritt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C8DFE2-4542-4278-80C4-5862F67B4EDF}"/>
              </a:ext>
            </a:extLst>
          </p:cNvPr>
          <p:cNvSpPr txBox="1">
            <a:spLocks/>
          </p:cNvSpPr>
          <p:nvPr/>
        </p:nvSpPr>
        <p:spPr>
          <a:xfrm>
            <a:off x="591097" y="2143980"/>
            <a:ext cx="4235736" cy="3035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txBody>
          <a:bodyPr vert="horz" wrap="square" lIns="165291" tIns="55104" rIns="55104" bIns="551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chreibung der aktuellen Projektaktivitäte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AAAAC24-D2EE-4F49-8E15-6C56437E6A7E}"/>
              </a:ext>
            </a:extLst>
          </p:cNvPr>
          <p:cNvSpPr txBox="1">
            <a:spLocks/>
          </p:cNvSpPr>
          <p:nvPr/>
        </p:nvSpPr>
        <p:spPr>
          <a:xfrm>
            <a:off x="591097" y="3689035"/>
            <a:ext cx="4235736" cy="3035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txBody>
          <a:bodyPr vert="horz" wrap="square" lIns="165291" tIns="55104" rIns="55104" bIns="55104" rtlCol="0" anchor="ctr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ressierung von Unterstützungsbedarfe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DF9EFE-F278-4BF5-B5AB-88D847DA129C}"/>
              </a:ext>
            </a:extLst>
          </p:cNvPr>
          <p:cNvSpPr txBox="1">
            <a:spLocks/>
          </p:cNvSpPr>
          <p:nvPr/>
        </p:nvSpPr>
        <p:spPr>
          <a:xfrm>
            <a:off x="487362" y="1168540"/>
            <a:ext cx="3767084" cy="188417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spielhafte </a:t>
            </a:r>
            <a:r>
              <a:rPr lang="de-DE" sz="1249" b="1" dirty="0" err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punkte</a:t>
            </a:r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teuerungskrei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142E70F-DAA3-4CD2-8A92-9876B12A13CA}"/>
              </a:ext>
            </a:extLst>
          </p:cNvPr>
          <p:cNvSpPr txBox="1">
            <a:spLocks/>
          </p:cNvSpPr>
          <p:nvPr/>
        </p:nvSpPr>
        <p:spPr>
          <a:xfrm>
            <a:off x="5352932" y="1168540"/>
            <a:ext cx="2012852" cy="188417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merku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4492CDA-618F-4EA7-BDE2-B1E9844968B1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352931" y="1630868"/>
            <a:ext cx="3056549" cy="1537857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en-US" baseline="0" dirty="0">
                <a:latin typeface="+mn-lt"/>
              </a:defRPr>
            </a:lvl1pPr>
            <a:lvl2pPr marL="194400" lvl="1" indent="-190800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en-US" baseline="0" dirty="0">
                <a:latin typeface="+mn-lt"/>
              </a:defRPr>
            </a:lvl2pPr>
            <a:lvl3pPr marL="446400" lvl="2" indent="-2484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dirty="0">
                <a:latin typeface="+mn-lt"/>
              </a:defRPr>
            </a:lvl3pPr>
            <a:lvl4pPr marL="615600" lvl="3" indent="-154800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en-US" baseline="0" dirty="0">
                <a:latin typeface="+mn-lt"/>
              </a:defRPr>
            </a:lvl4pPr>
            <a:lvl5pPr marL="748800" lvl="4" indent="-129600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en-US" baseline="0" dirty="0">
                <a:latin typeface="+mn-lt"/>
              </a:defRPr>
            </a:lvl5pPr>
            <a:lvl6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6pPr>
            <a:lvl7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7pPr>
            <a:lvl8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8pPr>
            <a:lvl9pPr marL="999794" indent="-173575" defTabSz="119386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2133"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Font typeface="Symbol" panose="05050102010706020507" pitchFamily="18" charset="2"/>
              <a:buChar char="-"/>
            </a:pPr>
            <a:r>
              <a:rPr lang="de-DE" sz="1249" dirty="0">
                <a:latin typeface="Arial" panose="020B0604020202020204" pitchFamily="34" charset="0"/>
                <a:cs typeface="Arial" panose="020B0604020202020204" pitchFamily="34" charset="0"/>
              </a:rPr>
              <a:t>Die Vorlage ist ein </a:t>
            </a:r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spielhafter Vorschlag </a:t>
            </a:r>
            <a:r>
              <a:rPr lang="de-DE" sz="1249" dirty="0">
                <a:latin typeface="Arial" panose="020B0604020202020204" pitchFamily="34" charset="0"/>
                <a:cs typeface="Arial" panose="020B0604020202020204" pitchFamily="34" charset="0"/>
              </a:rPr>
              <a:t>für die Durchführung eines Steuerungskreises</a:t>
            </a:r>
          </a:p>
          <a:p>
            <a:pPr lvl="1">
              <a:spcBef>
                <a:spcPct val="50000"/>
              </a:spcBef>
              <a:buFont typeface="Symbol" panose="05050102010706020507" pitchFamily="18" charset="2"/>
              <a:buChar char="-"/>
            </a:pPr>
            <a:r>
              <a:rPr lang="de-DE" sz="1249" dirty="0">
                <a:latin typeface="Arial" panose="020B0604020202020204" pitchFamily="34" charset="0"/>
                <a:cs typeface="Arial" panose="020B0604020202020204" pitchFamily="34" charset="0"/>
              </a:rPr>
              <a:t>Die </a:t>
            </a:r>
            <a:r>
              <a:rPr lang="de-DE" sz="1249" dirty="0" err="1">
                <a:latin typeface="Arial" panose="020B0604020202020204" pitchFamily="34" charset="0"/>
                <a:cs typeface="Arial" panose="020B0604020202020204" pitchFamily="34" charset="0"/>
              </a:rPr>
              <a:t>Agendapunkte</a:t>
            </a:r>
            <a:r>
              <a:rPr lang="de-DE" sz="1249" dirty="0">
                <a:latin typeface="Arial" panose="020B0604020202020204" pitchFamily="34" charset="0"/>
                <a:cs typeface="Arial" panose="020B0604020202020204" pitchFamily="34" charset="0"/>
              </a:rPr>
              <a:t> können </a:t>
            </a:r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ell angepasst werden</a:t>
            </a:r>
          </a:p>
          <a:p>
            <a:pPr lvl="1">
              <a:spcBef>
                <a:spcPct val="50000"/>
              </a:spcBef>
              <a:buFont typeface="Symbol" panose="05050102010706020507" pitchFamily="18" charset="2"/>
              <a:buChar char="-"/>
            </a:pPr>
            <a:r>
              <a:rPr lang="de-DE" sz="1249" dirty="0">
                <a:latin typeface="Arial" panose="020B0604020202020204" pitchFamily="34" charset="0"/>
                <a:cs typeface="Arial" panose="020B0604020202020204" pitchFamily="34" charset="0"/>
              </a:rPr>
              <a:t>Die </a:t>
            </a:r>
            <a:r>
              <a:rPr lang="de-DE" sz="1249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werpunktthemen</a:t>
            </a:r>
            <a:r>
              <a:rPr lang="de-DE" sz="1249" dirty="0">
                <a:latin typeface="Arial" panose="020B0604020202020204" pitchFamily="34" charset="0"/>
                <a:cs typeface="Arial" panose="020B0604020202020204" pitchFamily="34" charset="0"/>
              </a:rPr>
              <a:t> variieren je nach Steuerungskreis</a:t>
            </a:r>
          </a:p>
        </p:txBody>
      </p:sp>
      <p:sp>
        <p:nvSpPr>
          <p:cNvPr id="20" name="TrackerNum 20">
            <a:extLst>
              <a:ext uri="{FF2B5EF4-FFF2-40B4-BE49-F238E27FC236}">
                <a16:creationId xmlns:a16="http://schemas.microsoft.com/office/drawing/2014/main" id="{4A4EC51A-BD90-4337-BB8F-DE824E9A1AB3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487362" y="1677202"/>
            <a:ext cx="207467" cy="207034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de-DE" sz="124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2" name="TrackerNum 20">
            <a:extLst>
              <a:ext uri="{FF2B5EF4-FFF2-40B4-BE49-F238E27FC236}">
                <a16:creationId xmlns:a16="http://schemas.microsoft.com/office/drawing/2014/main" id="{40328559-4795-4331-B4DE-DC0A1ED3DE6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487362" y="2707239"/>
            <a:ext cx="207467" cy="207034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de-DE" sz="124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3" name="TrackerNum 20">
            <a:extLst>
              <a:ext uri="{FF2B5EF4-FFF2-40B4-BE49-F238E27FC236}">
                <a16:creationId xmlns:a16="http://schemas.microsoft.com/office/drawing/2014/main" id="{C6FBD014-3D4D-4AA4-931F-E4D76B9A247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487362" y="3222257"/>
            <a:ext cx="207467" cy="207034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de-DE" sz="124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4" name="TrackerNum 20">
            <a:extLst>
              <a:ext uri="{FF2B5EF4-FFF2-40B4-BE49-F238E27FC236}">
                <a16:creationId xmlns:a16="http://schemas.microsoft.com/office/drawing/2014/main" id="{002DB906-CB16-4C50-992A-BFF9EFCE0ED4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487362" y="4252294"/>
            <a:ext cx="207467" cy="207034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de-DE" sz="124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8" name="TrackerNum 20">
            <a:extLst>
              <a:ext uri="{FF2B5EF4-FFF2-40B4-BE49-F238E27FC236}">
                <a16:creationId xmlns:a16="http://schemas.microsoft.com/office/drawing/2014/main" id="{44C2F22E-4C1D-41F6-92D8-63A35F136908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487362" y="2192220"/>
            <a:ext cx="207467" cy="207034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de-DE" sz="124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30" name="TrackerNum 20">
            <a:extLst>
              <a:ext uri="{FF2B5EF4-FFF2-40B4-BE49-F238E27FC236}">
                <a16:creationId xmlns:a16="http://schemas.microsoft.com/office/drawing/2014/main" id="{5AF8CE23-EA6D-44E2-BD00-DBC7AE1AD44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>
          <a:xfrm>
            <a:off x="487362" y="3737275"/>
            <a:ext cx="207467" cy="207034"/>
          </a:xfrm>
          <a:prstGeom prst="ellipse">
            <a:avLst/>
          </a:prstGeom>
          <a:solidFill>
            <a:schemeClr val="accent4"/>
          </a:solidFill>
          <a:ln w="9525" cap="flat" cmpd="sng" algn="ctr">
            <a:solidFill>
              <a:schemeClr val="accent4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/>
            <a:r>
              <a:rPr lang="de-DE" sz="1249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BFEFCAF-D171-4F07-A04F-F5F75009B8FE}"/>
              </a:ext>
            </a:extLst>
          </p:cNvPr>
          <p:cNvGrpSpPr/>
          <p:nvPr/>
        </p:nvGrpSpPr>
        <p:grpSpPr bwMode="gray">
          <a:xfrm>
            <a:off x="5010424" y="1221610"/>
            <a:ext cx="249728" cy="378117"/>
            <a:chOff x="2501286" y="2793737"/>
            <a:chExt cx="403875" cy="611512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CB277D9-4BD4-4598-A38A-1E3D0867ABB4}"/>
                </a:ext>
              </a:extLst>
            </p:cNvPr>
            <p:cNvSpPr/>
            <p:nvPr/>
          </p:nvSpPr>
          <p:spPr bwMode="gray">
            <a:xfrm>
              <a:off x="2541528" y="2793737"/>
              <a:ext cx="363633" cy="611512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249" dirty="0" err="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3238E260-D6B0-4469-96D8-9096FF516EEE}"/>
                </a:ext>
              </a:extLst>
            </p:cNvPr>
            <p:cNvGrpSpPr/>
            <p:nvPr/>
          </p:nvGrpSpPr>
          <p:grpSpPr bwMode="gray">
            <a:xfrm>
              <a:off x="2501286" y="2888629"/>
              <a:ext cx="379332" cy="421728"/>
              <a:chOff x="2501286" y="2853935"/>
              <a:chExt cx="379332" cy="421728"/>
            </a:xfrm>
          </p:grpSpPr>
          <p:sp>
            <p:nvSpPr>
              <p:cNvPr id="47" name="Chevron 7">
                <a:extLst>
                  <a:ext uri="{FF2B5EF4-FFF2-40B4-BE49-F238E27FC236}">
                    <a16:creationId xmlns:a16="http://schemas.microsoft.com/office/drawing/2014/main" id="{11F2FD88-1019-4FF4-AEA0-C90B3D3E6148}"/>
                  </a:ext>
                </a:extLst>
              </p:cNvPr>
              <p:cNvSpPr/>
              <p:nvPr/>
            </p:nvSpPr>
            <p:spPr bwMode="gray">
              <a:xfrm flipV="1">
                <a:off x="2501286" y="2901701"/>
                <a:ext cx="199048" cy="326196"/>
              </a:xfrm>
              <a:prstGeom prst="chevron">
                <a:avLst/>
              </a:prstGeom>
              <a:solidFill>
                <a:schemeClr val="bg1">
                  <a:lumMod val="7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49" dirty="0" err="1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8" name="Chevron 8">
                <a:extLst>
                  <a:ext uri="{FF2B5EF4-FFF2-40B4-BE49-F238E27FC236}">
                    <a16:creationId xmlns:a16="http://schemas.microsoft.com/office/drawing/2014/main" id="{C1C950D7-0864-47C9-B400-2978A8B67917}"/>
                  </a:ext>
                </a:extLst>
              </p:cNvPr>
              <p:cNvSpPr/>
              <p:nvPr/>
            </p:nvSpPr>
            <p:spPr bwMode="gray">
              <a:xfrm>
                <a:off x="2623274" y="2853935"/>
                <a:ext cx="257344" cy="421728"/>
              </a:xfrm>
              <a:prstGeom prst="chevron">
                <a:avLst/>
              </a:prstGeom>
              <a:solidFill>
                <a:schemeClr val="accent4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249" dirty="0" err="1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CAF09FD-3483-4A7D-9721-E0FEE12BFEBE}"/>
              </a:ext>
            </a:extLst>
          </p:cNvPr>
          <p:cNvCxnSpPr>
            <a:cxnSpLocks/>
          </p:cNvCxnSpPr>
          <p:nvPr/>
        </p:nvCxnSpPr>
        <p:spPr>
          <a:xfrm>
            <a:off x="5135288" y="1599725"/>
            <a:ext cx="0" cy="2905936"/>
          </a:xfrm>
          <a:prstGeom prst="line">
            <a:avLst/>
          </a:prstGeom>
          <a:ln w="31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5501989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E919D9B-F049-48C1-B08A-081571DAAE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56" y="162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4" imgH="526" progId="TCLayout.ActiveDocument.1">
                  <p:embed/>
                </p:oleObj>
              </mc:Choice>
              <mc:Fallback>
                <p:oleObj name="think-cell Slide" r:id="rId5" imgW="524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E919D9B-F049-48C1-B08A-081571DAAE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56" y="162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5DC38FD-E0EB-41E6-BCB7-0991BA1261D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69" y="112868"/>
            <a:ext cx="9143865" cy="5030594"/>
            <a:chOff x="1" y="112833"/>
            <a:chExt cx="9144000" cy="503066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DA21D6B-24FD-4FE9-8909-7ED1D96E09C1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802" b="8802"/>
            <a:stretch/>
          </p:blipFill>
          <p:spPr bwMode="gray">
            <a:xfrm flipH="1">
              <a:off x="1" y="112833"/>
              <a:ext cx="9144000" cy="5030668"/>
            </a:xfrm>
            <a:prstGeom prst="rect">
              <a:avLst/>
            </a:prstGeom>
          </p:spPr>
        </p:pic>
        <p:sp>
          <p:nvSpPr>
            <p:cNvPr id="12" name="Rectangle 11"/>
            <p:cNvSpPr>
              <a:spLocks/>
            </p:cNvSpPr>
            <p:nvPr/>
          </p:nvSpPr>
          <p:spPr>
            <a:xfrm>
              <a:off x="1" y="112833"/>
              <a:ext cx="1379381" cy="5030668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0B66A34-5B02-4D10-884A-78566FB876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362" y="285784"/>
            <a:ext cx="8328552" cy="3693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orlage Steuerungskrei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B197379-020F-4985-AEC8-B6DE0B60E036}"/>
              </a:ext>
            </a:extLst>
          </p:cNvPr>
          <p:cNvSpPr/>
          <p:nvPr/>
        </p:nvSpPr>
        <p:spPr>
          <a:xfrm>
            <a:off x="68" y="2020539"/>
            <a:ext cx="9143865" cy="153380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spielhafte Befüllung "Vorlage Steuerungskreis"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06379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877C1819-E1A7-40A1-894A-823AD6AB53A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094793"/>
              </p:ext>
            </p:extLst>
          </p:nvPr>
        </p:nvGraphicFramePr>
        <p:xfrm>
          <a:off x="1283" y="1216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877C1819-E1A7-40A1-894A-823AD6AB53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83" y="1216"/>
                        <a:ext cx="1215" cy="1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1F17DF7A-66B0-422E-9156-DC161E37D62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0"/>
            <a:ext cx="121481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 err="1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5FEBEF-29DB-42DB-98C8-FBB2136C0238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elsetzung des Steuerungskreises am 28.09.</a:t>
            </a:r>
            <a:endParaRPr lang="de-D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RectangleLegend1">
            <a:extLst>
              <a:ext uri="{FF2B5EF4-FFF2-40B4-BE49-F238E27FC236}">
                <a16:creationId xmlns:a16="http://schemas.microsoft.com/office/drawing/2014/main" id="{A9F5A294-4704-4148-B31E-BB13507BA5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69692" y="2013754"/>
            <a:ext cx="5646222" cy="4871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algn="ctr" defTabSz="671471">
              <a:buClr>
                <a:schemeClr val="tx2"/>
              </a:buClr>
            </a:pPr>
            <a:endParaRPr lang="de-DE" sz="1100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3558E43-E78D-46A9-BB65-8385995215EB}"/>
              </a:ext>
            </a:extLst>
          </p:cNvPr>
          <p:cNvCxnSpPr>
            <a:cxnSpLocks/>
          </p:cNvCxnSpPr>
          <p:nvPr/>
        </p:nvCxnSpPr>
        <p:spPr bwMode="gray">
          <a:xfrm>
            <a:off x="3169692" y="4449678"/>
            <a:ext cx="564622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4F3C85C-2B0E-4F4C-B305-93CBC65022B1}"/>
              </a:ext>
            </a:extLst>
          </p:cNvPr>
          <p:cNvCxnSpPr>
            <a:cxnSpLocks/>
          </p:cNvCxnSpPr>
          <p:nvPr/>
        </p:nvCxnSpPr>
        <p:spPr bwMode="gray">
          <a:xfrm>
            <a:off x="3169692" y="2013754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D4D45711-A6CF-40CF-8E68-9F662DEE7D68}"/>
              </a:ext>
            </a:extLst>
          </p:cNvPr>
          <p:cNvCxnSpPr>
            <a:cxnSpLocks/>
          </p:cNvCxnSpPr>
          <p:nvPr/>
        </p:nvCxnSpPr>
        <p:spPr bwMode="gray">
          <a:xfrm>
            <a:off x="3169692" y="2500938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FA5EE2A-04F8-4225-B18A-930F6204DD6A}"/>
              </a:ext>
            </a:extLst>
          </p:cNvPr>
          <p:cNvCxnSpPr>
            <a:cxnSpLocks/>
          </p:cNvCxnSpPr>
          <p:nvPr/>
        </p:nvCxnSpPr>
        <p:spPr bwMode="gray">
          <a:xfrm>
            <a:off x="3169692" y="2988122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33AE3DAC-E886-4177-B37B-7F6FDC9C9B8D}"/>
              </a:ext>
            </a:extLst>
          </p:cNvPr>
          <p:cNvCxnSpPr>
            <a:cxnSpLocks/>
          </p:cNvCxnSpPr>
          <p:nvPr/>
        </p:nvCxnSpPr>
        <p:spPr bwMode="gray">
          <a:xfrm>
            <a:off x="3169692" y="3475306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E0817402-2CD6-41EE-88B1-0B67601F531A}"/>
              </a:ext>
            </a:extLst>
          </p:cNvPr>
          <p:cNvCxnSpPr>
            <a:cxnSpLocks/>
          </p:cNvCxnSpPr>
          <p:nvPr/>
        </p:nvCxnSpPr>
        <p:spPr bwMode="gray">
          <a:xfrm>
            <a:off x="3169692" y="3962490"/>
            <a:ext cx="564622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520A4C0E-10AC-4EDD-A48D-7C9F5BE704D3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487362" y="1526570"/>
            <a:ext cx="2419611" cy="155350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pPr lvl="1">
              <a:spcBef>
                <a:spcPts val="300"/>
              </a:spcBef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Überblick über die </a:t>
            </a:r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beiten der vergangenen 2 Wochen</a:t>
            </a:r>
          </a:p>
          <a:p>
            <a:pPr lvl="1">
              <a:spcBef>
                <a:spcPts val="300"/>
              </a:spcBef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Treffen von zwei </a:t>
            </a:r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chtigen Entscheidungen </a:t>
            </a:r>
          </a:p>
          <a:p>
            <a:pPr lvl="1">
              <a:spcBef>
                <a:spcPts val="300"/>
              </a:spcBef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dressierung von </a:t>
            </a:r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stützungsbedarfen</a:t>
            </a:r>
          </a:p>
          <a:p>
            <a:pPr lvl="1">
              <a:spcBef>
                <a:spcPts val="300"/>
              </a:spcBef>
            </a:pPr>
            <a:endParaRPr lang="de-DE" sz="12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EBB8677-9C48-4DD1-9D4A-957E0ABA07C0}"/>
              </a:ext>
            </a:extLst>
          </p:cNvPr>
          <p:cNvSpPr txBox="1">
            <a:spLocks/>
          </p:cNvSpPr>
          <p:nvPr/>
        </p:nvSpPr>
        <p:spPr>
          <a:xfrm>
            <a:off x="487362" y="1181091"/>
            <a:ext cx="2419611" cy="33009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ele des Gespräch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B3AFD1E-7E25-4DA4-8BC6-E50FE563DD32}"/>
              </a:ext>
            </a:extLst>
          </p:cNvPr>
          <p:cNvSpPr txBox="1">
            <a:spLocks/>
          </p:cNvSpPr>
          <p:nvPr/>
        </p:nvSpPr>
        <p:spPr>
          <a:xfrm>
            <a:off x="7704161" y="1165702"/>
            <a:ext cx="1111753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itplan</a:t>
            </a:r>
            <a:endParaRPr lang="de-DE" sz="12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006F7EF-6515-4C0C-9A36-56C8523466A6}"/>
              </a:ext>
            </a:extLst>
          </p:cNvPr>
          <p:cNvSpPr txBox="1">
            <a:spLocks/>
          </p:cNvSpPr>
          <p:nvPr/>
        </p:nvSpPr>
        <p:spPr>
          <a:xfrm>
            <a:off x="3169692" y="1165702"/>
            <a:ext cx="4271750" cy="360868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AF547E9-6B78-4683-B3BB-088BAF0C9588}"/>
              </a:ext>
            </a:extLst>
          </p:cNvPr>
          <p:cNvSpPr txBox="1">
            <a:spLocks/>
          </p:cNvSpPr>
          <p:nvPr/>
        </p:nvSpPr>
        <p:spPr>
          <a:xfrm>
            <a:off x="7704161" y="1677829"/>
            <a:ext cx="111175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09:00 Uhr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DF93284-4665-41E0-8223-69110AFE07D4}"/>
              </a:ext>
            </a:extLst>
          </p:cNvPr>
          <p:cNvSpPr txBox="1">
            <a:spLocks/>
          </p:cNvSpPr>
          <p:nvPr/>
        </p:nvSpPr>
        <p:spPr>
          <a:xfrm>
            <a:off x="3169692" y="1677829"/>
            <a:ext cx="42717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Zielsetzung des Steuerungskreis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7758F6E-7689-4865-89E7-7388C4CFE658}"/>
              </a:ext>
            </a:extLst>
          </p:cNvPr>
          <p:cNvSpPr txBox="1">
            <a:spLocks/>
          </p:cNvSpPr>
          <p:nvPr/>
        </p:nvSpPr>
        <p:spPr>
          <a:xfrm>
            <a:off x="7704161" y="3139381"/>
            <a:ext cx="111175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09:30 Uh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EF8A6B9-B547-4A1A-9C83-90EF2C76A78A}"/>
              </a:ext>
            </a:extLst>
          </p:cNvPr>
          <p:cNvSpPr txBox="1">
            <a:spLocks/>
          </p:cNvSpPr>
          <p:nvPr/>
        </p:nvSpPr>
        <p:spPr>
          <a:xfrm>
            <a:off x="3169692" y="3139381"/>
            <a:ext cx="42717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bstimmung Themen mit Entscheidungsbedarf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76E6966-28F7-47C5-8E4D-2538470CB413}"/>
              </a:ext>
            </a:extLst>
          </p:cNvPr>
          <p:cNvSpPr txBox="1">
            <a:spLocks/>
          </p:cNvSpPr>
          <p:nvPr/>
        </p:nvSpPr>
        <p:spPr>
          <a:xfrm>
            <a:off x="7704161" y="2165013"/>
            <a:ext cx="111175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09:05 Uhr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EE915B7-563D-42A5-BBF2-171EAF681935}"/>
              </a:ext>
            </a:extLst>
          </p:cNvPr>
          <p:cNvSpPr txBox="1">
            <a:spLocks/>
          </p:cNvSpPr>
          <p:nvPr/>
        </p:nvSpPr>
        <p:spPr>
          <a:xfrm>
            <a:off x="3169692" y="2165013"/>
            <a:ext cx="42717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Beschreibung der aktuellen Projektaktivität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9827460-EAF8-4783-B716-5811E41BF8C2}"/>
              </a:ext>
            </a:extLst>
          </p:cNvPr>
          <p:cNvSpPr txBox="1">
            <a:spLocks/>
          </p:cNvSpPr>
          <p:nvPr/>
        </p:nvSpPr>
        <p:spPr>
          <a:xfrm>
            <a:off x="7704161" y="4113749"/>
            <a:ext cx="111175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09:50 Uhr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B3C4CB3C-3B7F-4D72-83AF-A10295FC6400}"/>
              </a:ext>
            </a:extLst>
          </p:cNvPr>
          <p:cNvSpPr txBox="1">
            <a:spLocks/>
          </p:cNvSpPr>
          <p:nvPr/>
        </p:nvSpPr>
        <p:spPr>
          <a:xfrm>
            <a:off x="3169692" y="4113749"/>
            <a:ext cx="42717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Festlegung der nächsten Schritt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EAF9580-D056-4629-AFFA-470C247A6E4A}"/>
              </a:ext>
            </a:extLst>
          </p:cNvPr>
          <p:cNvSpPr txBox="1">
            <a:spLocks/>
          </p:cNvSpPr>
          <p:nvPr/>
        </p:nvSpPr>
        <p:spPr>
          <a:xfrm>
            <a:off x="7704161" y="2652197"/>
            <a:ext cx="111175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09:15 Uhr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CCCE52F-12D4-49F3-A5F4-D9FCB6E13154}"/>
              </a:ext>
            </a:extLst>
          </p:cNvPr>
          <p:cNvSpPr txBox="1">
            <a:spLocks/>
          </p:cNvSpPr>
          <p:nvPr/>
        </p:nvSpPr>
        <p:spPr>
          <a:xfrm>
            <a:off x="3169692" y="2652197"/>
            <a:ext cx="42717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Darstellung der inhaltlichen Umsetzung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326F124-7850-4F07-92AA-D0B5D585A854}"/>
              </a:ext>
            </a:extLst>
          </p:cNvPr>
          <p:cNvSpPr txBox="1">
            <a:spLocks/>
          </p:cNvSpPr>
          <p:nvPr/>
        </p:nvSpPr>
        <p:spPr>
          <a:xfrm>
            <a:off x="7704161" y="3626565"/>
            <a:ext cx="111175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09:45 Uhr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757517B6-C485-4F5F-B5FF-8A447A295DB7}"/>
              </a:ext>
            </a:extLst>
          </p:cNvPr>
          <p:cNvSpPr txBox="1">
            <a:spLocks/>
          </p:cNvSpPr>
          <p:nvPr/>
        </p:nvSpPr>
        <p:spPr>
          <a:xfrm>
            <a:off x="3169692" y="3626565"/>
            <a:ext cx="427175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0" rIns="7200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dressierung von Unterstützungsbedarfen</a:t>
            </a:r>
          </a:p>
        </p:txBody>
      </p:sp>
      <p:sp>
        <p:nvSpPr>
          <p:cNvPr id="161" name="Freeform 7">
            <a:extLst>
              <a:ext uri="{FF2B5EF4-FFF2-40B4-BE49-F238E27FC236}">
                <a16:creationId xmlns:a16="http://schemas.microsoft.com/office/drawing/2014/main" id="{8A19ABC9-AD66-423F-B7A7-489BD024B8F1}"/>
              </a:ext>
            </a:extLst>
          </p:cNvPr>
          <p:cNvSpPr>
            <a:spLocks noChangeAspect="1"/>
          </p:cNvSpPr>
          <p:nvPr/>
        </p:nvSpPr>
        <p:spPr bwMode="gray">
          <a:xfrm>
            <a:off x="2587491" y="1217931"/>
            <a:ext cx="272390" cy="256410"/>
          </a:xfrm>
          <a:custGeom>
            <a:avLst/>
            <a:gdLst>
              <a:gd name="T0" fmla="*/ 166 w 166"/>
              <a:gd name="T1" fmla="*/ 55 h 156"/>
              <a:gd name="T2" fmla="*/ 147 w 166"/>
              <a:gd name="T3" fmla="*/ 55 h 156"/>
              <a:gd name="T4" fmla="*/ 131 w 166"/>
              <a:gd name="T5" fmla="*/ 64 h 156"/>
              <a:gd name="T6" fmla="*/ 127 w 166"/>
              <a:gd name="T7" fmla="*/ 71 h 156"/>
              <a:gd name="T8" fmla="*/ 91 w 166"/>
              <a:gd name="T9" fmla="*/ 71 h 156"/>
              <a:gd name="T10" fmla="*/ 77 w 166"/>
              <a:gd name="T11" fmla="*/ 59 h 156"/>
              <a:gd name="T12" fmla="*/ 62 w 166"/>
              <a:gd name="T13" fmla="*/ 78 h 156"/>
              <a:gd name="T14" fmla="*/ 77 w 166"/>
              <a:gd name="T15" fmla="*/ 97 h 156"/>
              <a:gd name="T16" fmla="*/ 91 w 166"/>
              <a:gd name="T17" fmla="*/ 85 h 156"/>
              <a:gd name="T18" fmla="*/ 99 w 166"/>
              <a:gd name="T19" fmla="*/ 85 h 156"/>
              <a:gd name="T20" fmla="*/ 91 w 166"/>
              <a:gd name="T21" fmla="*/ 102 h 156"/>
              <a:gd name="T22" fmla="*/ 73 w 166"/>
              <a:gd name="T23" fmla="*/ 112 h 156"/>
              <a:gd name="T24" fmla="*/ 54 w 166"/>
              <a:gd name="T25" fmla="*/ 102 h 156"/>
              <a:gd name="T26" fmla="*/ 47 w 166"/>
              <a:gd name="T27" fmla="*/ 78 h 156"/>
              <a:gd name="T28" fmla="*/ 54 w 166"/>
              <a:gd name="T29" fmla="*/ 54 h 156"/>
              <a:gd name="T30" fmla="*/ 73 w 166"/>
              <a:gd name="T31" fmla="*/ 44 h 156"/>
              <a:gd name="T32" fmla="*/ 91 w 166"/>
              <a:gd name="T33" fmla="*/ 54 h 156"/>
              <a:gd name="T34" fmla="*/ 97 w 166"/>
              <a:gd name="T35" fmla="*/ 66 h 156"/>
              <a:gd name="T36" fmla="*/ 103 w 166"/>
              <a:gd name="T37" fmla="*/ 66 h 156"/>
              <a:gd name="T38" fmla="*/ 69 w 166"/>
              <a:gd name="T39" fmla="*/ 32 h 156"/>
              <a:gd name="T40" fmla="*/ 33 w 166"/>
              <a:gd name="T41" fmla="*/ 78 h 156"/>
              <a:gd name="T42" fmla="*/ 69 w 166"/>
              <a:gd name="T43" fmla="*/ 124 h 156"/>
              <a:gd name="T44" fmla="*/ 104 w 166"/>
              <a:gd name="T45" fmla="*/ 85 h 156"/>
              <a:gd name="T46" fmla="*/ 113 w 166"/>
              <a:gd name="T47" fmla="*/ 85 h 156"/>
              <a:gd name="T48" fmla="*/ 99 w 166"/>
              <a:gd name="T49" fmla="*/ 122 h 156"/>
              <a:gd name="T50" fmla="*/ 65 w 166"/>
              <a:gd name="T51" fmla="*/ 140 h 156"/>
              <a:gd name="T52" fmla="*/ 31 w 166"/>
              <a:gd name="T53" fmla="*/ 122 h 156"/>
              <a:gd name="T54" fmla="*/ 17 w 166"/>
              <a:gd name="T55" fmla="*/ 78 h 156"/>
              <a:gd name="T56" fmla="*/ 31 w 166"/>
              <a:gd name="T57" fmla="*/ 34 h 156"/>
              <a:gd name="T58" fmla="*/ 65 w 166"/>
              <a:gd name="T59" fmla="*/ 16 h 156"/>
              <a:gd name="T60" fmla="*/ 99 w 166"/>
              <a:gd name="T61" fmla="*/ 34 h 156"/>
              <a:gd name="T62" fmla="*/ 112 w 166"/>
              <a:gd name="T63" fmla="*/ 66 h 156"/>
              <a:gd name="T64" fmla="*/ 121 w 166"/>
              <a:gd name="T65" fmla="*/ 66 h 156"/>
              <a:gd name="T66" fmla="*/ 61 w 166"/>
              <a:gd name="T67" fmla="*/ 0 h 156"/>
              <a:gd name="T68" fmla="*/ 0 w 166"/>
              <a:gd name="T69" fmla="*/ 78 h 156"/>
              <a:gd name="T70" fmla="*/ 61 w 166"/>
              <a:gd name="T71" fmla="*/ 156 h 156"/>
              <a:gd name="T72" fmla="*/ 121 w 166"/>
              <a:gd name="T73" fmla="*/ 85 h 156"/>
              <a:gd name="T74" fmla="*/ 127 w 166"/>
              <a:gd name="T75" fmla="*/ 85 h 156"/>
              <a:gd name="T76" fmla="*/ 131 w 166"/>
              <a:gd name="T77" fmla="*/ 92 h 156"/>
              <a:gd name="T78" fmla="*/ 147 w 166"/>
              <a:gd name="T79" fmla="*/ 101 h 156"/>
              <a:gd name="T80" fmla="*/ 166 w 166"/>
              <a:gd name="T81" fmla="*/ 101 h 156"/>
              <a:gd name="T82" fmla="*/ 155 w 166"/>
              <a:gd name="T83" fmla="*/ 78 h 156"/>
              <a:gd name="T84" fmla="*/ 166 w 166"/>
              <a:gd name="T85" fmla="*/ 55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66" h="156">
                <a:moveTo>
                  <a:pt x="166" y="55"/>
                </a:moveTo>
                <a:cubicBezTo>
                  <a:pt x="147" y="55"/>
                  <a:pt x="147" y="55"/>
                  <a:pt x="147" y="55"/>
                </a:cubicBezTo>
                <a:cubicBezTo>
                  <a:pt x="141" y="55"/>
                  <a:pt x="134" y="59"/>
                  <a:pt x="131" y="64"/>
                </a:cubicBezTo>
                <a:cubicBezTo>
                  <a:pt x="127" y="71"/>
                  <a:pt x="127" y="71"/>
                  <a:pt x="127" y="71"/>
                </a:cubicBezTo>
                <a:cubicBezTo>
                  <a:pt x="91" y="71"/>
                  <a:pt x="91" y="71"/>
                  <a:pt x="91" y="71"/>
                </a:cubicBezTo>
                <a:cubicBezTo>
                  <a:pt x="88" y="64"/>
                  <a:pt x="83" y="59"/>
                  <a:pt x="77" y="59"/>
                </a:cubicBezTo>
                <a:cubicBezTo>
                  <a:pt x="69" y="59"/>
                  <a:pt x="62" y="68"/>
                  <a:pt x="62" y="78"/>
                </a:cubicBezTo>
                <a:cubicBezTo>
                  <a:pt x="62" y="88"/>
                  <a:pt x="69" y="97"/>
                  <a:pt x="77" y="97"/>
                </a:cubicBezTo>
                <a:cubicBezTo>
                  <a:pt x="83" y="97"/>
                  <a:pt x="88" y="92"/>
                  <a:pt x="91" y="85"/>
                </a:cubicBezTo>
                <a:cubicBezTo>
                  <a:pt x="99" y="85"/>
                  <a:pt x="99" y="85"/>
                  <a:pt x="99" y="85"/>
                </a:cubicBezTo>
                <a:cubicBezTo>
                  <a:pt x="97" y="91"/>
                  <a:pt x="95" y="97"/>
                  <a:pt x="91" y="102"/>
                </a:cubicBezTo>
                <a:cubicBezTo>
                  <a:pt x="87" y="108"/>
                  <a:pt x="80" y="112"/>
                  <a:pt x="73" y="112"/>
                </a:cubicBezTo>
                <a:cubicBezTo>
                  <a:pt x="66" y="112"/>
                  <a:pt x="59" y="108"/>
                  <a:pt x="54" y="102"/>
                </a:cubicBezTo>
                <a:cubicBezTo>
                  <a:pt x="50" y="96"/>
                  <a:pt x="47" y="87"/>
                  <a:pt x="47" y="78"/>
                </a:cubicBezTo>
                <a:cubicBezTo>
                  <a:pt x="47" y="69"/>
                  <a:pt x="50" y="60"/>
                  <a:pt x="54" y="54"/>
                </a:cubicBezTo>
                <a:cubicBezTo>
                  <a:pt x="59" y="48"/>
                  <a:pt x="66" y="44"/>
                  <a:pt x="73" y="44"/>
                </a:cubicBezTo>
                <a:cubicBezTo>
                  <a:pt x="80" y="44"/>
                  <a:pt x="87" y="48"/>
                  <a:pt x="91" y="54"/>
                </a:cubicBezTo>
                <a:cubicBezTo>
                  <a:pt x="94" y="57"/>
                  <a:pt x="96" y="61"/>
                  <a:pt x="97" y="66"/>
                </a:cubicBezTo>
                <a:cubicBezTo>
                  <a:pt x="103" y="66"/>
                  <a:pt x="103" y="66"/>
                  <a:pt x="103" y="66"/>
                </a:cubicBezTo>
                <a:cubicBezTo>
                  <a:pt x="99" y="47"/>
                  <a:pt x="85" y="32"/>
                  <a:pt x="69" y="32"/>
                </a:cubicBezTo>
                <a:cubicBezTo>
                  <a:pt x="49" y="32"/>
                  <a:pt x="33" y="53"/>
                  <a:pt x="33" y="78"/>
                </a:cubicBezTo>
                <a:cubicBezTo>
                  <a:pt x="33" y="103"/>
                  <a:pt x="49" y="124"/>
                  <a:pt x="69" y="124"/>
                </a:cubicBezTo>
                <a:cubicBezTo>
                  <a:pt x="87" y="124"/>
                  <a:pt x="101" y="107"/>
                  <a:pt x="104" y="85"/>
                </a:cubicBezTo>
                <a:cubicBezTo>
                  <a:pt x="113" y="85"/>
                  <a:pt x="113" y="85"/>
                  <a:pt x="113" y="85"/>
                </a:cubicBezTo>
                <a:cubicBezTo>
                  <a:pt x="112" y="99"/>
                  <a:pt x="107" y="112"/>
                  <a:pt x="99" y="122"/>
                </a:cubicBezTo>
                <a:cubicBezTo>
                  <a:pt x="90" y="133"/>
                  <a:pt x="78" y="140"/>
                  <a:pt x="65" y="140"/>
                </a:cubicBezTo>
                <a:cubicBezTo>
                  <a:pt x="52" y="140"/>
                  <a:pt x="40" y="133"/>
                  <a:pt x="31" y="122"/>
                </a:cubicBezTo>
                <a:cubicBezTo>
                  <a:pt x="22" y="111"/>
                  <a:pt x="17" y="95"/>
                  <a:pt x="17" y="78"/>
                </a:cubicBezTo>
                <a:cubicBezTo>
                  <a:pt x="17" y="61"/>
                  <a:pt x="22" y="45"/>
                  <a:pt x="31" y="34"/>
                </a:cubicBezTo>
                <a:cubicBezTo>
                  <a:pt x="40" y="23"/>
                  <a:pt x="52" y="16"/>
                  <a:pt x="65" y="16"/>
                </a:cubicBezTo>
                <a:cubicBezTo>
                  <a:pt x="78" y="16"/>
                  <a:pt x="90" y="23"/>
                  <a:pt x="99" y="34"/>
                </a:cubicBezTo>
                <a:cubicBezTo>
                  <a:pt x="106" y="43"/>
                  <a:pt x="110" y="54"/>
                  <a:pt x="112" y="66"/>
                </a:cubicBezTo>
                <a:cubicBezTo>
                  <a:pt x="121" y="66"/>
                  <a:pt x="121" y="66"/>
                  <a:pt x="121" y="66"/>
                </a:cubicBezTo>
                <a:cubicBezTo>
                  <a:pt x="116" y="29"/>
                  <a:pt x="91" y="0"/>
                  <a:pt x="61" y="0"/>
                </a:cubicBezTo>
                <a:cubicBezTo>
                  <a:pt x="27" y="0"/>
                  <a:pt x="0" y="35"/>
                  <a:pt x="0" y="78"/>
                </a:cubicBezTo>
                <a:cubicBezTo>
                  <a:pt x="0" y="121"/>
                  <a:pt x="27" y="156"/>
                  <a:pt x="61" y="156"/>
                </a:cubicBezTo>
                <a:cubicBezTo>
                  <a:pt x="93" y="156"/>
                  <a:pt x="119" y="125"/>
                  <a:pt x="121" y="85"/>
                </a:cubicBezTo>
                <a:cubicBezTo>
                  <a:pt x="127" y="85"/>
                  <a:pt x="127" y="85"/>
                  <a:pt x="127" y="85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34" y="97"/>
                  <a:pt x="141" y="101"/>
                  <a:pt x="147" y="101"/>
                </a:cubicBezTo>
                <a:cubicBezTo>
                  <a:pt x="166" y="101"/>
                  <a:pt x="166" y="101"/>
                  <a:pt x="166" y="101"/>
                </a:cubicBezTo>
                <a:cubicBezTo>
                  <a:pt x="155" y="78"/>
                  <a:pt x="155" y="78"/>
                  <a:pt x="155" y="78"/>
                </a:cubicBezTo>
                <a:lnTo>
                  <a:pt x="166" y="5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9973" tIns="34986" rIns="69973" bIns="34986" numCol="1" anchor="ctr" anchorCtr="0" compatLnSpc="1">
            <a:prstTxWarp prst="textNoShape">
              <a:avLst/>
            </a:prstTxWarp>
            <a:noAutofit/>
          </a:bodyPr>
          <a:lstStyle/>
          <a:p>
            <a:endParaRPr lang="de-DE" sz="10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ECC1BEA3-B3A0-49C4-A54D-E76215962E45}"/>
              </a:ext>
            </a:extLst>
          </p:cNvPr>
          <p:cNvGrpSpPr/>
          <p:nvPr/>
        </p:nvGrpSpPr>
        <p:grpSpPr bwMode="gray">
          <a:xfrm>
            <a:off x="7154585" y="1215807"/>
            <a:ext cx="246340" cy="260658"/>
            <a:chOff x="7212247" y="569755"/>
            <a:chExt cx="218238" cy="230924"/>
          </a:xfrm>
          <a:solidFill>
            <a:schemeClr val="bg1"/>
          </a:solidFill>
        </p:grpSpPr>
        <p:sp>
          <p:nvSpPr>
            <p:cNvPr id="72" name="Freeform 73">
              <a:extLst>
                <a:ext uri="{FF2B5EF4-FFF2-40B4-BE49-F238E27FC236}">
                  <a16:creationId xmlns:a16="http://schemas.microsoft.com/office/drawing/2014/main" id="{ECD64387-690F-42DB-8EF1-B154E032AD9B}"/>
                </a:ext>
              </a:extLst>
            </p:cNvPr>
            <p:cNvSpPr>
              <a:spLocks/>
            </p:cNvSpPr>
            <p:nvPr/>
          </p:nvSpPr>
          <p:spPr bwMode="gray">
            <a:xfrm>
              <a:off x="7212247" y="569755"/>
              <a:ext cx="201160" cy="230748"/>
            </a:xfrm>
            <a:custGeom>
              <a:avLst/>
              <a:gdLst>
                <a:gd name="connsiteX0" fmla="*/ 145754 w 838612"/>
                <a:gd name="connsiteY0" fmla="*/ 691665 h 960461"/>
                <a:gd name="connsiteX1" fmla="*/ 518822 w 838612"/>
                <a:gd name="connsiteY1" fmla="*/ 691665 h 960461"/>
                <a:gd name="connsiteX2" fmla="*/ 548288 w 838612"/>
                <a:gd name="connsiteY2" fmla="*/ 721131 h 960461"/>
                <a:gd name="connsiteX3" fmla="*/ 518822 w 838612"/>
                <a:gd name="connsiteY3" fmla="*/ 750597 h 960461"/>
                <a:gd name="connsiteX4" fmla="*/ 145754 w 838612"/>
                <a:gd name="connsiteY4" fmla="*/ 750597 h 960461"/>
                <a:gd name="connsiteX5" fmla="*/ 116288 w 838612"/>
                <a:gd name="connsiteY5" fmla="*/ 721131 h 960461"/>
                <a:gd name="connsiteX6" fmla="*/ 145754 w 838612"/>
                <a:gd name="connsiteY6" fmla="*/ 691665 h 960461"/>
                <a:gd name="connsiteX7" fmla="*/ 145754 w 838612"/>
                <a:gd name="connsiteY7" fmla="*/ 531064 h 960461"/>
                <a:gd name="connsiteX8" fmla="*/ 608822 w 838612"/>
                <a:gd name="connsiteY8" fmla="*/ 531064 h 960461"/>
                <a:gd name="connsiteX9" fmla="*/ 638288 w 838612"/>
                <a:gd name="connsiteY9" fmla="*/ 560530 h 960461"/>
                <a:gd name="connsiteX10" fmla="*/ 608822 w 838612"/>
                <a:gd name="connsiteY10" fmla="*/ 589996 h 960461"/>
                <a:gd name="connsiteX11" fmla="*/ 145754 w 838612"/>
                <a:gd name="connsiteY11" fmla="*/ 589996 h 960461"/>
                <a:gd name="connsiteX12" fmla="*/ 116288 w 838612"/>
                <a:gd name="connsiteY12" fmla="*/ 560530 h 960461"/>
                <a:gd name="connsiteX13" fmla="*/ 145754 w 838612"/>
                <a:gd name="connsiteY13" fmla="*/ 531064 h 960461"/>
                <a:gd name="connsiteX14" fmla="*/ 145754 w 838612"/>
                <a:gd name="connsiteY14" fmla="*/ 370463 h 960461"/>
                <a:gd name="connsiteX15" fmla="*/ 692859 w 838612"/>
                <a:gd name="connsiteY15" fmla="*/ 370463 h 960461"/>
                <a:gd name="connsiteX16" fmla="*/ 722325 w 838612"/>
                <a:gd name="connsiteY16" fmla="*/ 399929 h 960461"/>
                <a:gd name="connsiteX17" fmla="*/ 692859 w 838612"/>
                <a:gd name="connsiteY17" fmla="*/ 429395 h 960461"/>
                <a:gd name="connsiteX18" fmla="*/ 145754 w 838612"/>
                <a:gd name="connsiteY18" fmla="*/ 429395 h 960461"/>
                <a:gd name="connsiteX19" fmla="*/ 116288 w 838612"/>
                <a:gd name="connsiteY19" fmla="*/ 399929 h 960461"/>
                <a:gd name="connsiteX20" fmla="*/ 145754 w 838612"/>
                <a:gd name="connsiteY20" fmla="*/ 370463 h 960461"/>
                <a:gd name="connsiteX21" fmla="*/ 145754 w 838612"/>
                <a:gd name="connsiteY21" fmla="*/ 209863 h 960461"/>
                <a:gd name="connsiteX22" fmla="*/ 692859 w 838612"/>
                <a:gd name="connsiteY22" fmla="*/ 209863 h 960461"/>
                <a:gd name="connsiteX23" fmla="*/ 722325 w 838612"/>
                <a:gd name="connsiteY23" fmla="*/ 239329 h 960461"/>
                <a:gd name="connsiteX24" fmla="*/ 692859 w 838612"/>
                <a:gd name="connsiteY24" fmla="*/ 268795 h 960461"/>
                <a:gd name="connsiteX25" fmla="*/ 145754 w 838612"/>
                <a:gd name="connsiteY25" fmla="*/ 268795 h 960461"/>
                <a:gd name="connsiteX26" fmla="*/ 116288 w 838612"/>
                <a:gd name="connsiteY26" fmla="*/ 239329 h 960461"/>
                <a:gd name="connsiteX27" fmla="*/ 145754 w 838612"/>
                <a:gd name="connsiteY27" fmla="*/ 209863 h 960461"/>
                <a:gd name="connsiteX28" fmla="*/ 62451 w 838612"/>
                <a:gd name="connsiteY28" fmla="*/ 0 h 960461"/>
                <a:gd name="connsiteX29" fmla="*/ 776161 w 838612"/>
                <a:gd name="connsiteY29" fmla="*/ 0 h 960461"/>
                <a:gd name="connsiteX30" fmla="*/ 838612 w 838612"/>
                <a:gd name="connsiteY30" fmla="*/ 62451 h 960461"/>
                <a:gd name="connsiteX31" fmla="*/ 838612 w 838612"/>
                <a:gd name="connsiteY31" fmla="*/ 366665 h 960461"/>
                <a:gd name="connsiteX32" fmla="*/ 779682 w 838612"/>
                <a:gd name="connsiteY32" fmla="*/ 425607 h 960461"/>
                <a:gd name="connsiteX33" fmla="*/ 779682 w 838612"/>
                <a:gd name="connsiteY33" fmla="*/ 58930 h 960461"/>
                <a:gd name="connsiteX34" fmla="*/ 58930 w 838612"/>
                <a:gd name="connsiteY34" fmla="*/ 58930 h 960461"/>
                <a:gd name="connsiteX35" fmla="*/ 58930 w 838612"/>
                <a:gd name="connsiteY35" fmla="*/ 901529 h 960461"/>
                <a:gd name="connsiteX36" fmla="*/ 779682 w 838612"/>
                <a:gd name="connsiteY36" fmla="*/ 901529 h 960461"/>
                <a:gd name="connsiteX37" fmla="*/ 779682 w 838612"/>
                <a:gd name="connsiteY37" fmla="*/ 681311 h 960461"/>
                <a:gd name="connsiteX38" fmla="*/ 838612 w 838612"/>
                <a:gd name="connsiteY38" fmla="*/ 638719 h 960461"/>
                <a:gd name="connsiteX39" fmla="*/ 838612 w 838612"/>
                <a:gd name="connsiteY39" fmla="*/ 898010 h 960461"/>
                <a:gd name="connsiteX40" fmla="*/ 776161 w 838612"/>
                <a:gd name="connsiteY40" fmla="*/ 960461 h 960461"/>
                <a:gd name="connsiteX41" fmla="*/ 62451 w 838612"/>
                <a:gd name="connsiteY41" fmla="*/ 960461 h 960461"/>
                <a:gd name="connsiteX42" fmla="*/ 0 w 838612"/>
                <a:gd name="connsiteY42" fmla="*/ 898010 h 960461"/>
                <a:gd name="connsiteX43" fmla="*/ 0 w 838612"/>
                <a:gd name="connsiteY43" fmla="*/ 62451 h 960461"/>
                <a:gd name="connsiteX44" fmla="*/ 62451 w 838612"/>
                <a:gd name="connsiteY44" fmla="*/ 0 h 960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838612" h="960461">
                  <a:moveTo>
                    <a:pt x="145754" y="691665"/>
                  </a:moveTo>
                  <a:lnTo>
                    <a:pt x="518822" y="691665"/>
                  </a:lnTo>
                  <a:cubicBezTo>
                    <a:pt x="535096" y="691665"/>
                    <a:pt x="548288" y="704857"/>
                    <a:pt x="548288" y="721131"/>
                  </a:cubicBezTo>
                  <a:cubicBezTo>
                    <a:pt x="548288" y="737405"/>
                    <a:pt x="535096" y="750597"/>
                    <a:pt x="518822" y="750597"/>
                  </a:cubicBezTo>
                  <a:lnTo>
                    <a:pt x="145754" y="750597"/>
                  </a:lnTo>
                  <a:cubicBezTo>
                    <a:pt x="129480" y="750597"/>
                    <a:pt x="116288" y="737405"/>
                    <a:pt x="116288" y="721131"/>
                  </a:cubicBezTo>
                  <a:cubicBezTo>
                    <a:pt x="116288" y="704857"/>
                    <a:pt x="129480" y="691665"/>
                    <a:pt x="145754" y="691665"/>
                  </a:cubicBezTo>
                  <a:close/>
                  <a:moveTo>
                    <a:pt x="145754" y="531064"/>
                  </a:moveTo>
                  <a:lnTo>
                    <a:pt x="608822" y="531064"/>
                  </a:lnTo>
                  <a:cubicBezTo>
                    <a:pt x="625096" y="531064"/>
                    <a:pt x="638288" y="544256"/>
                    <a:pt x="638288" y="560530"/>
                  </a:cubicBezTo>
                  <a:cubicBezTo>
                    <a:pt x="638288" y="576804"/>
                    <a:pt x="625096" y="589996"/>
                    <a:pt x="608822" y="589996"/>
                  </a:cubicBezTo>
                  <a:lnTo>
                    <a:pt x="145754" y="589996"/>
                  </a:lnTo>
                  <a:cubicBezTo>
                    <a:pt x="129480" y="589996"/>
                    <a:pt x="116288" y="576804"/>
                    <a:pt x="116288" y="560530"/>
                  </a:cubicBezTo>
                  <a:cubicBezTo>
                    <a:pt x="116288" y="544256"/>
                    <a:pt x="129480" y="531064"/>
                    <a:pt x="145754" y="531064"/>
                  </a:cubicBezTo>
                  <a:close/>
                  <a:moveTo>
                    <a:pt x="145754" y="370463"/>
                  </a:moveTo>
                  <a:lnTo>
                    <a:pt x="692859" y="370463"/>
                  </a:lnTo>
                  <a:cubicBezTo>
                    <a:pt x="709133" y="370463"/>
                    <a:pt x="722325" y="383655"/>
                    <a:pt x="722325" y="399929"/>
                  </a:cubicBezTo>
                  <a:cubicBezTo>
                    <a:pt x="722325" y="416203"/>
                    <a:pt x="709133" y="429395"/>
                    <a:pt x="692859" y="429395"/>
                  </a:cubicBezTo>
                  <a:lnTo>
                    <a:pt x="145754" y="429395"/>
                  </a:lnTo>
                  <a:cubicBezTo>
                    <a:pt x="129480" y="429395"/>
                    <a:pt x="116288" y="416203"/>
                    <a:pt x="116288" y="399929"/>
                  </a:cubicBezTo>
                  <a:cubicBezTo>
                    <a:pt x="116288" y="383655"/>
                    <a:pt x="129480" y="370463"/>
                    <a:pt x="145754" y="370463"/>
                  </a:cubicBezTo>
                  <a:close/>
                  <a:moveTo>
                    <a:pt x="145754" y="209863"/>
                  </a:moveTo>
                  <a:lnTo>
                    <a:pt x="692859" y="209863"/>
                  </a:lnTo>
                  <a:cubicBezTo>
                    <a:pt x="709133" y="209863"/>
                    <a:pt x="722325" y="223055"/>
                    <a:pt x="722325" y="239329"/>
                  </a:cubicBezTo>
                  <a:cubicBezTo>
                    <a:pt x="722325" y="255603"/>
                    <a:pt x="709133" y="268795"/>
                    <a:pt x="692859" y="268795"/>
                  </a:cubicBezTo>
                  <a:lnTo>
                    <a:pt x="145754" y="268795"/>
                  </a:lnTo>
                  <a:cubicBezTo>
                    <a:pt x="129480" y="268795"/>
                    <a:pt x="116288" y="255603"/>
                    <a:pt x="116288" y="239329"/>
                  </a:cubicBezTo>
                  <a:cubicBezTo>
                    <a:pt x="116288" y="223055"/>
                    <a:pt x="129480" y="209863"/>
                    <a:pt x="145754" y="209863"/>
                  </a:cubicBezTo>
                  <a:close/>
                  <a:moveTo>
                    <a:pt x="62451" y="0"/>
                  </a:moveTo>
                  <a:lnTo>
                    <a:pt x="776161" y="0"/>
                  </a:lnTo>
                  <a:cubicBezTo>
                    <a:pt x="810652" y="0"/>
                    <a:pt x="838612" y="27960"/>
                    <a:pt x="838612" y="62451"/>
                  </a:cubicBezTo>
                  <a:lnTo>
                    <a:pt x="838612" y="366665"/>
                  </a:lnTo>
                  <a:lnTo>
                    <a:pt x="779682" y="425607"/>
                  </a:lnTo>
                  <a:lnTo>
                    <a:pt x="779682" y="58930"/>
                  </a:lnTo>
                  <a:lnTo>
                    <a:pt x="58930" y="58930"/>
                  </a:lnTo>
                  <a:lnTo>
                    <a:pt x="58930" y="901529"/>
                  </a:lnTo>
                  <a:lnTo>
                    <a:pt x="779682" y="901529"/>
                  </a:lnTo>
                  <a:lnTo>
                    <a:pt x="779682" y="681311"/>
                  </a:lnTo>
                  <a:lnTo>
                    <a:pt x="838612" y="638719"/>
                  </a:lnTo>
                  <a:lnTo>
                    <a:pt x="838612" y="898010"/>
                  </a:lnTo>
                  <a:cubicBezTo>
                    <a:pt x="838612" y="932501"/>
                    <a:pt x="810652" y="960461"/>
                    <a:pt x="776161" y="960461"/>
                  </a:cubicBezTo>
                  <a:lnTo>
                    <a:pt x="62451" y="960461"/>
                  </a:lnTo>
                  <a:cubicBezTo>
                    <a:pt x="27960" y="960461"/>
                    <a:pt x="0" y="932501"/>
                    <a:pt x="0" y="898010"/>
                  </a:cubicBezTo>
                  <a:lnTo>
                    <a:pt x="0" y="62451"/>
                  </a:lnTo>
                  <a:cubicBezTo>
                    <a:pt x="0" y="27960"/>
                    <a:pt x="27960" y="0"/>
                    <a:pt x="62451" y="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Freeform 24">
              <a:extLst>
                <a:ext uri="{FF2B5EF4-FFF2-40B4-BE49-F238E27FC236}">
                  <a16:creationId xmlns:a16="http://schemas.microsoft.com/office/drawing/2014/main" id="{D4604786-805E-4B6C-ABAB-63C232B916A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269187" y="639130"/>
              <a:ext cx="161298" cy="161549"/>
            </a:xfrm>
            <a:custGeom>
              <a:avLst/>
              <a:gdLst>
                <a:gd name="T0" fmla="*/ 1142 w 1165"/>
                <a:gd name="T1" fmla="*/ 374 h 1165"/>
                <a:gd name="T2" fmla="*/ 1056 w 1165"/>
                <a:gd name="T3" fmla="*/ 288 h 1165"/>
                <a:gd name="T4" fmla="*/ 1101 w 1165"/>
                <a:gd name="T5" fmla="*/ 162 h 1165"/>
                <a:gd name="T6" fmla="*/ 1165 w 1165"/>
                <a:gd name="T7" fmla="*/ 98 h 1165"/>
                <a:gd name="T8" fmla="*/ 1067 w 1165"/>
                <a:gd name="T9" fmla="*/ 0 h 1165"/>
                <a:gd name="T10" fmla="*/ 1002 w 1165"/>
                <a:gd name="T11" fmla="*/ 66 h 1165"/>
                <a:gd name="T12" fmla="*/ 718 w 1165"/>
                <a:gd name="T13" fmla="*/ 250 h 1165"/>
                <a:gd name="T14" fmla="*/ 526 w 1165"/>
                <a:gd name="T15" fmla="*/ 457 h 1165"/>
                <a:gd name="T16" fmla="*/ 710 w 1165"/>
                <a:gd name="T17" fmla="*/ 641 h 1165"/>
                <a:gd name="T18" fmla="*/ 917 w 1165"/>
                <a:gd name="T19" fmla="*/ 449 h 1165"/>
                <a:gd name="T20" fmla="*/ 1013 w 1165"/>
                <a:gd name="T21" fmla="*/ 345 h 1165"/>
                <a:gd name="T22" fmla="*/ 1067 w 1165"/>
                <a:gd name="T23" fmla="*/ 399 h 1165"/>
                <a:gd name="T24" fmla="*/ 892 w 1165"/>
                <a:gd name="T25" fmla="*/ 574 h 1165"/>
                <a:gd name="T26" fmla="*/ 892 w 1165"/>
                <a:gd name="T27" fmla="*/ 624 h 1165"/>
                <a:gd name="T28" fmla="*/ 942 w 1165"/>
                <a:gd name="T29" fmla="*/ 624 h 1165"/>
                <a:gd name="T30" fmla="*/ 1142 w 1165"/>
                <a:gd name="T31" fmla="*/ 424 h 1165"/>
                <a:gd name="T32" fmla="*/ 1142 w 1165"/>
                <a:gd name="T33" fmla="*/ 374 h 1165"/>
                <a:gd name="T34" fmla="*/ 1142 w 1165"/>
                <a:gd name="T35" fmla="*/ 374 h 1165"/>
                <a:gd name="T36" fmla="*/ 627 w 1165"/>
                <a:gd name="T37" fmla="*/ 722 h 1165"/>
                <a:gd name="T38" fmla="*/ 41 w 1165"/>
                <a:gd name="T39" fmla="*/ 1124 h 1165"/>
                <a:gd name="T40" fmla="*/ 443 w 1165"/>
                <a:gd name="T41" fmla="*/ 538 h 1165"/>
                <a:gd name="T42" fmla="*/ 627 w 1165"/>
                <a:gd name="T43" fmla="*/ 722 h 1165"/>
                <a:gd name="T44" fmla="*/ 627 w 1165"/>
                <a:gd name="T45" fmla="*/ 722 h 1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5" h="1165">
                  <a:moveTo>
                    <a:pt x="1142" y="374"/>
                  </a:moveTo>
                  <a:lnTo>
                    <a:pt x="1056" y="288"/>
                  </a:lnTo>
                  <a:cubicBezTo>
                    <a:pt x="1094" y="233"/>
                    <a:pt x="1105" y="193"/>
                    <a:pt x="1101" y="162"/>
                  </a:cubicBezTo>
                  <a:lnTo>
                    <a:pt x="1165" y="98"/>
                  </a:lnTo>
                  <a:lnTo>
                    <a:pt x="1067" y="0"/>
                  </a:lnTo>
                  <a:lnTo>
                    <a:pt x="1002" y="66"/>
                  </a:lnTo>
                  <a:cubicBezTo>
                    <a:pt x="947" y="60"/>
                    <a:pt x="866" y="102"/>
                    <a:pt x="718" y="250"/>
                  </a:cubicBezTo>
                  <a:cubicBezTo>
                    <a:pt x="663" y="304"/>
                    <a:pt x="596" y="377"/>
                    <a:pt x="526" y="457"/>
                  </a:cubicBezTo>
                  <a:lnTo>
                    <a:pt x="710" y="641"/>
                  </a:lnTo>
                  <a:cubicBezTo>
                    <a:pt x="790" y="571"/>
                    <a:pt x="863" y="504"/>
                    <a:pt x="917" y="449"/>
                  </a:cubicBezTo>
                  <a:cubicBezTo>
                    <a:pt x="956" y="410"/>
                    <a:pt x="988" y="376"/>
                    <a:pt x="1013" y="345"/>
                  </a:cubicBezTo>
                  <a:lnTo>
                    <a:pt x="1067" y="399"/>
                  </a:lnTo>
                  <a:lnTo>
                    <a:pt x="892" y="574"/>
                  </a:lnTo>
                  <a:cubicBezTo>
                    <a:pt x="879" y="588"/>
                    <a:pt x="879" y="610"/>
                    <a:pt x="892" y="624"/>
                  </a:cubicBezTo>
                  <a:cubicBezTo>
                    <a:pt x="906" y="638"/>
                    <a:pt x="929" y="638"/>
                    <a:pt x="942" y="624"/>
                  </a:cubicBezTo>
                  <a:lnTo>
                    <a:pt x="1142" y="424"/>
                  </a:lnTo>
                  <a:cubicBezTo>
                    <a:pt x="1156" y="410"/>
                    <a:pt x="1156" y="388"/>
                    <a:pt x="1142" y="374"/>
                  </a:cubicBezTo>
                  <a:lnTo>
                    <a:pt x="1142" y="374"/>
                  </a:lnTo>
                  <a:close/>
                  <a:moveTo>
                    <a:pt x="627" y="722"/>
                  </a:moveTo>
                  <a:cubicBezTo>
                    <a:pt x="385" y="934"/>
                    <a:pt x="82" y="1165"/>
                    <a:pt x="41" y="1124"/>
                  </a:cubicBezTo>
                  <a:cubicBezTo>
                    <a:pt x="0" y="1083"/>
                    <a:pt x="232" y="781"/>
                    <a:pt x="443" y="538"/>
                  </a:cubicBezTo>
                  <a:lnTo>
                    <a:pt x="627" y="722"/>
                  </a:lnTo>
                  <a:lnTo>
                    <a:pt x="627" y="7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51620" tIns="25810" rIns="51620" bIns="25810" numCol="1" anchor="ctr" anchorCtr="0" compatLnSpc="1">
              <a:prstTxWarp prst="textNoShape">
                <a:avLst/>
              </a:prstTxWarp>
            </a:bodyPr>
            <a:lstStyle/>
            <a:p>
              <a:endParaRPr lang="en-US" sz="10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5" name="Freeform 71">
            <a:extLst>
              <a:ext uri="{FF2B5EF4-FFF2-40B4-BE49-F238E27FC236}">
                <a16:creationId xmlns:a16="http://schemas.microsoft.com/office/drawing/2014/main" id="{AE89B3E9-EF52-4358-AC8D-DFCA150DD977}"/>
              </a:ext>
            </a:extLst>
          </p:cNvPr>
          <p:cNvSpPr>
            <a:spLocks noChangeAspect="1"/>
          </p:cNvSpPr>
          <p:nvPr/>
        </p:nvSpPr>
        <p:spPr bwMode="gray">
          <a:xfrm>
            <a:off x="8521424" y="1215986"/>
            <a:ext cx="260626" cy="260300"/>
          </a:xfrm>
          <a:custGeom>
            <a:avLst/>
            <a:gdLst>
              <a:gd name="connsiteX0" fmla="*/ 1307056 w 2331362"/>
              <a:gd name="connsiteY0" fmla="*/ 713737 h 2361247"/>
              <a:gd name="connsiteX1" fmla="*/ 1926431 w 2331362"/>
              <a:gd name="connsiteY1" fmla="*/ 1333110 h 2361247"/>
              <a:gd name="connsiteX2" fmla="*/ 1307056 w 2331362"/>
              <a:gd name="connsiteY2" fmla="*/ 1952483 h 2361247"/>
              <a:gd name="connsiteX3" fmla="*/ 869092 w 2331362"/>
              <a:gd name="connsiteY3" fmla="*/ 1771073 h 2361247"/>
              <a:gd name="connsiteX4" fmla="*/ 854201 w 2331362"/>
              <a:gd name="connsiteY4" fmla="*/ 1753024 h 2361247"/>
              <a:gd name="connsiteX5" fmla="*/ 1304925 w 2331362"/>
              <a:gd name="connsiteY5" fmla="*/ 1327812 h 2361247"/>
              <a:gd name="connsiteX6" fmla="*/ 1304925 w 2331362"/>
              <a:gd name="connsiteY6" fmla="*/ 713952 h 2361247"/>
              <a:gd name="connsiteX7" fmla="*/ 1184853 w 2331362"/>
              <a:gd name="connsiteY7" fmla="*/ 0 h 2361247"/>
              <a:gd name="connsiteX8" fmla="*/ 1419808 w 2331362"/>
              <a:gd name="connsiteY8" fmla="*/ 0 h 2361247"/>
              <a:gd name="connsiteX9" fmla="*/ 1488060 w 2331362"/>
              <a:gd name="connsiteY9" fmla="*/ 68252 h 2361247"/>
              <a:gd name="connsiteX10" fmla="*/ 1488060 w 2331362"/>
              <a:gd name="connsiteY10" fmla="*/ 142038 h 2361247"/>
              <a:gd name="connsiteX11" fmla="*/ 1419808 w 2331362"/>
              <a:gd name="connsiteY11" fmla="*/ 210290 h 2361247"/>
              <a:gd name="connsiteX12" fmla="*/ 1398619 w 2331362"/>
              <a:gd name="connsiteY12" fmla="*/ 210290 h 2361247"/>
              <a:gd name="connsiteX13" fmla="*/ 1398619 w 2331362"/>
              <a:gd name="connsiteY13" fmla="*/ 308352 h 2361247"/>
              <a:gd name="connsiteX14" fmla="*/ 1407543 w 2331362"/>
              <a:gd name="connsiteY14" fmla="*/ 308803 h 2361247"/>
              <a:gd name="connsiteX15" fmla="*/ 2331362 w 2331362"/>
              <a:gd name="connsiteY15" fmla="*/ 1332369 h 2361247"/>
              <a:gd name="connsiteX16" fmla="*/ 1302330 w 2331362"/>
              <a:gd name="connsiteY16" fmla="*/ 2361247 h 2361247"/>
              <a:gd name="connsiteX17" fmla="*/ 278611 w 2331362"/>
              <a:gd name="connsiteY17" fmla="*/ 1437566 h 2361247"/>
              <a:gd name="connsiteX18" fmla="*/ 273388 w 2331362"/>
              <a:gd name="connsiteY18" fmla="*/ 1334139 h 2361247"/>
              <a:gd name="connsiteX19" fmla="*/ 0 w 2331362"/>
              <a:gd name="connsiteY19" fmla="*/ 1334139 h 2361247"/>
              <a:gd name="connsiteX20" fmla="*/ 377933 w 2331362"/>
              <a:gd name="connsiteY20" fmla="*/ 879558 h 2361247"/>
              <a:gd name="connsiteX21" fmla="*/ 755866 w 2331362"/>
              <a:gd name="connsiteY21" fmla="*/ 1334139 h 2361247"/>
              <a:gd name="connsiteX22" fmla="*/ 471037 w 2331362"/>
              <a:gd name="connsiteY22" fmla="*/ 1334139 h 2361247"/>
              <a:gd name="connsiteX23" fmla="*/ 475239 w 2331362"/>
              <a:gd name="connsiteY23" fmla="*/ 1417373 h 2361247"/>
              <a:gd name="connsiteX24" fmla="*/ 1302329 w 2331362"/>
              <a:gd name="connsiteY24" fmla="*/ 2163752 h 2361247"/>
              <a:gd name="connsiteX25" fmla="*/ 2133711 w 2331362"/>
              <a:gd name="connsiteY25" fmla="*/ 1332369 h 2361247"/>
              <a:gd name="connsiteX26" fmla="*/ 1302329 w 2331362"/>
              <a:gd name="connsiteY26" fmla="*/ 500986 h 2361247"/>
              <a:gd name="connsiteX27" fmla="*/ 714453 w 2331362"/>
              <a:gd name="connsiteY27" fmla="*/ 744493 h 2361247"/>
              <a:gd name="connsiteX28" fmla="*/ 694567 w 2331362"/>
              <a:gd name="connsiteY28" fmla="*/ 768595 h 2361247"/>
              <a:gd name="connsiteX29" fmla="*/ 567547 w 2331362"/>
              <a:gd name="connsiteY29" fmla="*/ 615814 h 2361247"/>
              <a:gd name="connsiteX30" fmla="*/ 676785 w 2331362"/>
              <a:gd name="connsiteY30" fmla="*/ 515357 h 2361247"/>
              <a:gd name="connsiteX31" fmla="*/ 1197118 w 2331362"/>
              <a:gd name="connsiteY31" fmla="*/ 308803 h 2361247"/>
              <a:gd name="connsiteX32" fmla="*/ 1206042 w 2331362"/>
              <a:gd name="connsiteY32" fmla="*/ 308352 h 2361247"/>
              <a:gd name="connsiteX33" fmla="*/ 1206042 w 2331362"/>
              <a:gd name="connsiteY33" fmla="*/ 210290 h 2361247"/>
              <a:gd name="connsiteX34" fmla="*/ 1184853 w 2331362"/>
              <a:gd name="connsiteY34" fmla="*/ 210290 h 2361247"/>
              <a:gd name="connsiteX35" fmla="*/ 1116601 w 2331362"/>
              <a:gd name="connsiteY35" fmla="*/ 142038 h 2361247"/>
              <a:gd name="connsiteX36" fmla="*/ 1116601 w 2331362"/>
              <a:gd name="connsiteY36" fmla="*/ 68252 h 2361247"/>
              <a:gd name="connsiteX37" fmla="*/ 1184853 w 2331362"/>
              <a:gd name="connsiteY37" fmla="*/ 0 h 23612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2331362" h="2361247">
                <a:moveTo>
                  <a:pt x="1307056" y="713737"/>
                </a:moveTo>
                <a:cubicBezTo>
                  <a:pt x="1649127" y="713737"/>
                  <a:pt x="1926431" y="991040"/>
                  <a:pt x="1926431" y="1333110"/>
                </a:cubicBezTo>
                <a:cubicBezTo>
                  <a:pt x="1926431" y="1675180"/>
                  <a:pt x="1649127" y="1952483"/>
                  <a:pt x="1307056" y="1952483"/>
                </a:cubicBezTo>
                <a:cubicBezTo>
                  <a:pt x="1136021" y="1952483"/>
                  <a:pt x="981177" y="1883157"/>
                  <a:pt x="869092" y="1771073"/>
                </a:cubicBezTo>
                <a:lnTo>
                  <a:pt x="854201" y="1753024"/>
                </a:lnTo>
                <a:lnTo>
                  <a:pt x="1304925" y="1327812"/>
                </a:lnTo>
                <a:lnTo>
                  <a:pt x="1304925" y="713952"/>
                </a:lnTo>
                <a:close/>
                <a:moveTo>
                  <a:pt x="1184853" y="0"/>
                </a:moveTo>
                <a:lnTo>
                  <a:pt x="1419808" y="0"/>
                </a:lnTo>
                <a:cubicBezTo>
                  <a:pt x="1457503" y="0"/>
                  <a:pt x="1488060" y="30557"/>
                  <a:pt x="1488060" y="68252"/>
                </a:cubicBezTo>
                <a:lnTo>
                  <a:pt x="1488060" y="142038"/>
                </a:lnTo>
                <a:cubicBezTo>
                  <a:pt x="1488060" y="179733"/>
                  <a:pt x="1457503" y="210290"/>
                  <a:pt x="1419808" y="210290"/>
                </a:cubicBezTo>
                <a:lnTo>
                  <a:pt x="1398619" y="210290"/>
                </a:lnTo>
                <a:lnTo>
                  <a:pt x="1398619" y="308352"/>
                </a:lnTo>
                <a:lnTo>
                  <a:pt x="1407543" y="308803"/>
                </a:lnTo>
                <a:cubicBezTo>
                  <a:pt x="1926439" y="361492"/>
                  <a:pt x="2331362" y="799650"/>
                  <a:pt x="2331362" y="1332369"/>
                </a:cubicBezTo>
                <a:cubicBezTo>
                  <a:pt x="2331362" y="1900603"/>
                  <a:pt x="1870649" y="2361247"/>
                  <a:pt x="1302330" y="2361247"/>
                </a:cubicBezTo>
                <a:cubicBezTo>
                  <a:pt x="769531" y="2361247"/>
                  <a:pt x="331308" y="1956384"/>
                  <a:pt x="278611" y="1437566"/>
                </a:cubicBezTo>
                <a:lnTo>
                  <a:pt x="273388" y="1334139"/>
                </a:lnTo>
                <a:lnTo>
                  <a:pt x="0" y="1334139"/>
                </a:lnTo>
                <a:lnTo>
                  <a:pt x="377933" y="879558"/>
                </a:lnTo>
                <a:lnTo>
                  <a:pt x="755866" y="1334139"/>
                </a:lnTo>
                <a:lnTo>
                  <a:pt x="471037" y="1334139"/>
                </a:lnTo>
                <a:lnTo>
                  <a:pt x="475239" y="1417373"/>
                </a:lnTo>
                <a:cubicBezTo>
                  <a:pt x="517814" y="1836603"/>
                  <a:pt x="871867" y="2163752"/>
                  <a:pt x="1302329" y="2163752"/>
                </a:cubicBezTo>
                <a:cubicBezTo>
                  <a:pt x="1761489" y="2163752"/>
                  <a:pt x="2133711" y="1791529"/>
                  <a:pt x="2133711" y="1332369"/>
                </a:cubicBezTo>
                <a:cubicBezTo>
                  <a:pt x="2133711" y="873209"/>
                  <a:pt x="1761489" y="500986"/>
                  <a:pt x="1302329" y="500986"/>
                </a:cubicBezTo>
                <a:cubicBezTo>
                  <a:pt x="1072749" y="500986"/>
                  <a:pt x="864904" y="594042"/>
                  <a:pt x="714453" y="744493"/>
                </a:cubicBezTo>
                <a:lnTo>
                  <a:pt x="694567" y="768595"/>
                </a:lnTo>
                <a:lnTo>
                  <a:pt x="567547" y="615814"/>
                </a:lnTo>
                <a:lnTo>
                  <a:pt x="676785" y="515357"/>
                </a:lnTo>
                <a:cubicBezTo>
                  <a:pt x="823974" y="402526"/>
                  <a:pt x="1002532" y="328561"/>
                  <a:pt x="1197118" y="308803"/>
                </a:cubicBezTo>
                <a:lnTo>
                  <a:pt x="1206042" y="308352"/>
                </a:lnTo>
                <a:lnTo>
                  <a:pt x="1206042" y="210290"/>
                </a:lnTo>
                <a:lnTo>
                  <a:pt x="1184853" y="210290"/>
                </a:lnTo>
                <a:cubicBezTo>
                  <a:pt x="1147158" y="210290"/>
                  <a:pt x="1116601" y="179733"/>
                  <a:pt x="1116601" y="142038"/>
                </a:cubicBezTo>
                <a:lnTo>
                  <a:pt x="1116601" y="68252"/>
                </a:lnTo>
                <a:cubicBezTo>
                  <a:pt x="1116601" y="30557"/>
                  <a:pt x="1147158" y="0"/>
                  <a:pt x="1184853" y="0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0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1" name="sticker">
            <a:extLst>
              <a:ext uri="{FF2B5EF4-FFF2-40B4-BE49-F238E27FC236}">
                <a16:creationId xmlns:a16="http://schemas.microsoft.com/office/drawing/2014/main" id="{C51B8DA8-E8C0-4BE8-AB03-FFC30189A784}"/>
              </a:ext>
            </a:extLst>
          </p:cNvPr>
          <p:cNvGrpSpPr/>
          <p:nvPr/>
        </p:nvGrpSpPr>
        <p:grpSpPr>
          <a:xfrm>
            <a:off x="8187537" y="713536"/>
            <a:ext cx="628377" cy="226058"/>
            <a:chOff x="8182508" y="713536"/>
            <a:chExt cx="628377" cy="226058"/>
          </a:xfrm>
        </p:grpSpPr>
        <p:sp>
          <p:nvSpPr>
            <p:cNvPr id="43" name="StickerRectangle">
              <a:extLst>
                <a:ext uri="{FF2B5EF4-FFF2-40B4-BE49-F238E27FC236}">
                  <a16:creationId xmlns:a16="http://schemas.microsoft.com/office/drawing/2014/main" id="{683E4ACB-AAC4-40FF-B67E-53CF80C96C9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2" name="AutoShape 32">
              <a:extLst>
                <a:ext uri="{FF2B5EF4-FFF2-40B4-BE49-F238E27FC236}">
                  <a16:creationId xmlns:a16="http://schemas.microsoft.com/office/drawing/2014/main" id="{E060B7FC-BFE4-4BB5-AC5D-9CAE3FFFA0C7}"/>
                </a:ext>
              </a:extLst>
            </p:cNvPr>
            <p:cNvCxnSpPr>
              <a:cxnSpLocks noChangeShapeType="1"/>
              <a:stCxn id="43" idx="4"/>
              <a:endCxn id="43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32">
              <a:extLst>
                <a:ext uri="{FF2B5EF4-FFF2-40B4-BE49-F238E27FC236}">
                  <a16:creationId xmlns:a16="http://schemas.microsoft.com/office/drawing/2014/main" id="{68E64B85-F178-4DD4-9BF3-EDB158A4C4B6}"/>
                </a:ext>
              </a:extLst>
            </p:cNvPr>
            <p:cNvCxnSpPr>
              <a:cxnSpLocks noChangeShapeType="1"/>
              <a:stCxn id="43" idx="2"/>
              <a:endCxn id="43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075523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1A7D781-72DC-4EA8-8ADC-BF84965F31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1542765"/>
              </p:ext>
            </p:extLst>
          </p:nvPr>
        </p:nvGraphicFramePr>
        <p:xfrm>
          <a:off x="1656" y="1626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1A7D781-72DC-4EA8-8ADC-BF84965F31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656" y="1626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182D06C-CD0E-4601-9876-91253993F2B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68" y="38"/>
            <a:ext cx="158748" cy="158748"/>
          </a:xfrm>
          <a:prstGeom prst="rect">
            <a:avLst/>
          </a:prstGeom>
          <a:solidFill>
            <a:srgbClr val="DCB45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DE" sz="2400" dirty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151FB3-BC39-4555-8642-1C52260F90AE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87362" y="285784"/>
            <a:ext cx="8328552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t" anchorCtr="0">
            <a:noAutofit/>
          </a:bodyPr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eschreibung der aktuellen Projektaktivitäten– Stand der</a:t>
            </a:r>
            <a:b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OZG-Umsetzung</a:t>
            </a:r>
          </a:p>
        </p:txBody>
      </p:sp>
      <p:grpSp>
        <p:nvGrpSpPr>
          <p:cNvPr id="132" name="Group 131">
            <a:extLst>
              <a:ext uri="{FF2B5EF4-FFF2-40B4-BE49-F238E27FC236}">
                <a16:creationId xmlns:a16="http://schemas.microsoft.com/office/drawing/2014/main" id="{A04FD5C8-F552-4042-BB7C-C2675F9A6009}"/>
              </a:ext>
            </a:extLst>
          </p:cNvPr>
          <p:cNvGrpSpPr/>
          <p:nvPr/>
        </p:nvGrpSpPr>
        <p:grpSpPr>
          <a:xfrm>
            <a:off x="5633209" y="999548"/>
            <a:ext cx="3187195" cy="188088"/>
            <a:chOff x="5633209" y="999548"/>
            <a:chExt cx="3187195" cy="188088"/>
          </a:xfrm>
        </p:grpSpPr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9044127E-BD51-45F4-B127-8DA5FE2DF3AE}"/>
                </a:ext>
              </a:extLst>
            </p:cNvPr>
            <p:cNvGrpSpPr/>
            <p:nvPr/>
          </p:nvGrpSpPr>
          <p:grpSpPr>
            <a:xfrm>
              <a:off x="5633209" y="999548"/>
              <a:ext cx="1218672" cy="188088"/>
              <a:chOff x="5525259" y="999548"/>
              <a:chExt cx="1218672" cy="188088"/>
            </a:xfrm>
          </p:grpSpPr>
          <p:sp>
            <p:nvSpPr>
              <p:cNvPr id="87" name="Freeform 99">
                <a:extLst>
                  <a:ext uri="{FF2B5EF4-FFF2-40B4-BE49-F238E27FC236}">
                    <a16:creationId xmlns:a16="http://schemas.microsoft.com/office/drawing/2014/main" id="{B4140CAD-772B-4C6A-9D00-C67288EE5556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5525259" y="999548"/>
                <a:ext cx="198261" cy="188088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none" lIns="91439" tIns="45720" rIns="91439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1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" name="Body1 45">
                <a:extLst>
                  <a:ext uri="{FF2B5EF4-FFF2-40B4-BE49-F238E27FC236}">
                    <a16:creationId xmlns:a16="http://schemas.microsoft.com/office/drawing/2014/main" id="{5B02C4A9-3BB8-4915-B6BD-F4655511262E}"/>
                  </a:ext>
                </a:extLst>
              </p:cNvPr>
              <p:cNvSpPr txBox="1"/>
              <p:nvPr>
                <p:custDataLst>
                  <p:tags r:id="rId9"/>
                </p:custDataLst>
              </p:nvPr>
            </p:nvSpPr>
            <p:spPr bwMode="gray">
              <a:xfrm>
                <a:off x="5785335" y="1001259"/>
                <a:ext cx="958596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671496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80000" lvl="1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2pPr>
                <a:lvl3pPr marL="360000" lvl="2" indent="-180000" defTabSz="671496" eaLnBrk="1" hangingPunct="1"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•"/>
                  <a:defRPr sz="1600" baseline="0">
                    <a:latin typeface="+mn-lt"/>
                  </a:defRPr>
                </a:lvl3pPr>
                <a:lvl4pPr marL="540000" lvl="3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4pPr>
                <a:lvl5pPr marL="720000" lvl="4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»"/>
                  <a:defRPr sz="1600" baseline="0">
                    <a:latin typeface="+mn-lt"/>
                  </a:defRPr>
                </a:lvl5pPr>
                <a:lvl6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6pPr>
                <a:lvl7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7pPr>
                <a:lvl8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8pPr>
                <a:lvl9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9pPr>
              </a:lstStyle>
              <a:p>
                <a:r>
                  <a:rPr lang="de-DE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Abgeschlossen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57332225-DAFC-45AB-845D-75C9631D642D}"/>
                </a:ext>
              </a:extLst>
            </p:cNvPr>
            <p:cNvGrpSpPr/>
            <p:nvPr/>
          </p:nvGrpSpPr>
          <p:grpSpPr>
            <a:xfrm>
              <a:off x="7976737" y="1001259"/>
              <a:ext cx="843667" cy="171767"/>
              <a:chOff x="7976737" y="1001259"/>
              <a:chExt cx="843667" cy="171767"/>
            </a:xfrm>
          </p:grpSpPr>
          <p:sp>
            <p:nvSpPr>
              <p:cNvPr id="93" name="Body1 45">
                <a:extLst>
                  <a:ext uri="{FF2B5EF4-FFF2-40B4-BE49-F238E27FC236}">
                    <a16:creationId xmlns:a16="http://schemas.microsoft.com/office/drawing/2014/main" id="{10999281-1C26-4773-96D3-82327608DBC5}"/>
                  </a:ext>
                </a:extLst>
              </p:cNvPr>
              <p:cNvSpPr txBox="1"/>
              <p:nvPr>
                <p:custDataLst>
                  <p:tags r:id="rId6"/>
                </p:custDataLst>
              </p:nvPr>
            </p:nvSpPr>
            <p:spPr bwMode="gray">
              <a:xfrm>
                <a:off x="8209659" y="1001259"/>
                <a:ext cx="610745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671496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80000" lvl="1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2pPr>
                <a:lvl3pPr marL="360000" lvl="2" indent="-180000" defTabSz="671496" eaLnBrk="1" hangingPunct="1"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•"/>
                  <a:defRPr sz="1600" baseline="0">
                    <a:latin typeface="+mn-lt"/>
                  </a:defRPr>
                </a:lvl3pPr>
                <a:lvl4pPr marL="540000" lvl="3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4pPr>
                <a:lvl5pPr marL="720000" lvl="4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»"/>
                  <a:defRPr sz="1600" baseline="0">
                    <a:latin typeface="+mn-lt"/>
                  </a:defRPr>
                </a:lvl5pPr>
                <a:lvl6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6pPr>
                <a:lvl7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7pPr>
                <a:lvl8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8pPr>
                <a:lvl9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9pPr>
              </a:lstStyle>
              <a:p>
                <a:r>
                  <a:rPr lang="de-DE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Verzögert</a:t>
                </a:r>
              </a:p>
            </p:txBody>
          </p:sp>
          <p:sp>
            <p:nvSpPr>
              <p:cNvPr id="94" name="Freeform 103">
                <a:extLst>
                  <a:ext uri="{FF2B5EF4-FFF2-40B4-BE49-F238E27FC236}">
                    <a16:creationId xmlns:a16="http://schemas.microsoft.com/office/drawing/2014/main" id="{36CD1B24-C927-4054-8D01-61E39FC58986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7976737" y="1014157"/>
                <a:ext cx="171109" cy="158869"/>
              </a:xfrm>
              <a:custGeom>
                <a:avLst/>
                <a:gdLst>
                  <a:gd name="T0" fmla="*/ 1326 w 2880"/>
                  <a:gd name="T1" fmla="*/ 2079 h 2674"/>
                  <a:gd name="T2" fmla="*/ 1118 w 2880"/>
                  <a:gd name="T3" fmla="*/ 2354 h 2674"/>
                  <a:gd name="T4" fmla="*/ 929 w 2880"/>
                  <a:gd name="T5" fmla="*/ 2544 h 2674"/>
                  <a:gd name="T6" fmla="*/ 780 w 2880"/>
                  <a:gd name="T7" fmla="*/ 2642 h 2674"/>
                  <a:gd name="T8" fmla="*/ 702 w 2880"/>
                  <a:gd name="T9" fmla="*/ 2669 h 2674"/>
                  <a:gd name="T10" fmla="*/ 648 w 2880"/>
                  <a:gd name="T11" fmla="*/ 2674 h 2674"/>
                  <a:gd name="T12" fmla="*/ 484 w 2880"/>
                  <a:gd name="T13" fmla="*/ 2641 h 2674"/>
                  <a:gd name="T14" fmla="*/ 320 w 2880"/>
                  <a:gd name="T15" fmla="*/ 2540 h 2674"/>
                  <a:gd name="T16" fmla="*/ 160 w 2880"/>
                  <a:gd name="T17" fmla="*/ 2371 h 2674"/>
                  <a:gd name="T18" fmla="*/ 0 w 2880"/>
                  <a:gd name="T19" fmla="*/ 2136 h 2674"/>
                  <a:gd name="T20" fmla="*/ 86 w 2880"/>
                  <a:gd name="T21" fmla="*/ 2139 h 2674"/>
                  <a:gd name="T22" fmla="*/ 206 w 2880"/>
                  <a:gd name="T23" fmla="*/ 2120 h 2674"/>
                  <a:gd name="T24" fmla="*/ 408 w 2880"/>
                  <a:gd name="T25" fmla="*/ 2030 h 2674"/>
                  <a:gd name="T26" fmla="*/ 620 w 2880"/>
                  <a:gd name="T27" fmla="*/ 1868 h 2674"/>
                  <a:gd name="T28" fmla="*/ 843 w 2880"/>
                  <a:gd name="T29" fmla="*/ 1638 h 2674"/>
                  <a:gd name="T30" fmla="*/ 877 w 2880"/>
                  <a:gd name="T31" fmla="*/ 1362 h 2674"/>
                  <a:gd name="T32" fmla="*/ 694 w 2880"/>
                  <a:gd name="T33" fmla="*/ 1147 h 2674"/>
                  <a:gd name="T34" fmla="*/ 563 w 2880"/>
                  <a:gd name="T35" fmla="*/ 948 h 2674"/>
                  <a:gd name="T36" fmla="*/ 484 w 2880"/>
                  <a:gd name="T37" fmla="*/ 767 h 2674"/>
                  <a:gd name="T38" fmla="*/ 458 w 2880"/>
                  <a:gd name="T39" fmla="*/ 602 h 2674"/>
                  <a:gd name="T40" fmla="*/ 474 w 2880"/>
                  <a:gd name="T41" fmla="*/ 503 h 2674"/>
                  <a:gd name="T42" fmla="*/ 546 w 2880"/>
                  <a:gd name="T43" fmla="*/ 361 h 2674"/>
                  <a:gd name="T44" fmla="*/ 674 w 2880"/>
                  <a:gd name="T45" fmla="*/ 208 h 2674"/>
                  <a:gd name="T46" fmla="*/ 861 w 2880"/>
                  <a:gd name="T47" fmla="*/ 42 h 2674"/>
                  <a:gd name="T48" fmla="*/ 938 w 2880"/>
                  <a:gd name="T49" fmla="*/ 111 h 2674"/>
                  <a:gd name="T50" fmla="*/ 1003 w 2880"/>
                  <a:gd name="T51" fmla="*/ 331 h 2674"/>
                  <a:gd name="T52" fmla="*/ 1102 w 2880"/>
                  <a:gd name="T53" fmla="*/ 547 h 2674"/>
                  <a:gd name="T54" fmla="*/ 1232 w 2880"/>
                  <a:gd name="T55" fmla="*/ 760 h 2674"/>
                  <a:gd name="T56" fmla="*/ 1465 w 2880"/>
                  <a:gd name="T57" fmla="*/ 887 h 2674"/>
                  <a:gd name="T58" fmla="*/ 1641 w 2880"/>
                  <a:gd name="T59" fmla="*/ 679 h 2674"/>
                  <a:gd name="T60" fmla="*/ 1866 w 2880"/>
                  <a:gd name="T61" fmla="*/ 468 h 2674"/>
                  <a:gd name="T62" fmla="*/ 2081 w 2880"/>
                  <a:gd name="T63" fmla="*/ 334 h 2674"/>
                  <a:gd name="T64" fmla="*/ 2209 w 2880"/>
                  <a:gd name="T65" fmla="*/ 289 h 2674"/>
                  <a:gd name="T66" fmla="*/ 2308 w 2880"/>
                  <a:gd name="T67" fmla="*/ 274 h 2674"/>
                  <a:gd name="T68" fmla="*/ 2406 w 2880"/>
                  <a:gd name="T69" fmla="*/ 281 h 2674"/>
                  <a:gd name="T70" fmla="*/ 2540 w 2880"/>
                  <a:gd name="T71" fmla="*/ 340 h 2674"/>
                  <a:gd name="T72" fmla="*/ 2655 w 2880"/>
                  <a:gd name="T73" fmla="*/ 456 h 2674"/>
                  <a:gd name="T74" fmla="*/ 2751 w 2880"/>
                  <a:gd name="T75" fmla="*/ 630 h 2674"/>
                  <a:gd name="T76" fmla="*/ 2755 w 2880"/>
                  <a:gd name="T77" fmla="*/ 734 h 2674"/>
                  <a:gd name="T78" fmla="*/ 2692 w 2880"/>
                  <a:gd name="T79" fmla="*/ 735 h 2674"/>
                  <a:gd name="T80" fmla="*/ 2609 w 2880"/>
                  <a:gd name="T81" fmla="*/ 758 h 2674"/>
                  <a:gd name="T82" fmla="*/ 2401 w 2880"/>
                  <a:gd name="T83" fmla="*/ 873 h 2674"/>
                  <a:gd name="T84" fmla="*/ 2222 w 2880"/>
                  <a:gd name="T85" fmla="*/ 1012 h 2674"/>
                  <a:gd name="T86" fmla="*/ 2010 w 2880"/>
                  <a:gd name="T87" fmla="*/ 1221 h 2674"/>
                  <a:gd name="T88" fmla="*/ 1917 w 2880"/>
                  <a:gd name="T89" fmla="*/ 1531 h 2674"/>
                  <a:gd name="T90" fmla="*/ 2091 w 2880"/>
                  <a:gd name="T91" fmla="*/ 1682 h 2674"/>
                  <a:gd name="T92" fmla="*/ 2329 w 2880"/>
                  <a:gd name="T93" fmla="*/ 1837 h 2674"/>
                  <a:gd name="T94" fmla="*/ 2570 w 2880"/>
                  <a:gd name="T95" fmla="*/ 1933 h 2674"/>
                  <a:gd name="T96" fmla="*/ 2817 w 2880"/>
                  <a:gd name="T97" fmla="*/ 1976 h 2674"/>
                  <a:gd name="T98" fmla="*/ 2813 w 2880"/>
                  <a:gd name="T99" fmla="*/ 2104 h 2674"/>
                  <a:gd name="T100" fmla="*/ 2674 w 2880"/>
                  <a:gd name="T101" fmla="*/ 2308 h 2674"/>
                  <a:gd name="T102" fmla="*/ 2535 w 2880"/>
                  <a:gd name="T103" fmla="*/ 2444 h 2674"/>
                  <a:gd name="T104" fmla="*/ 2391 w 2880"/>
                  <a:gd name="T105" fmla="*/ 2510 h 2674"/>
                  <a:gd name="T106" fmla="*/ 2318 w 2880"/>
                  <a:gd name="T107" fmla="*/ 2519 h 2674"/>
                  <a:gd name="T108" fmla="*/ 2172 w 2880"/>
                  <a:gd name="T109" fmla="*/ 2491 h 2674"/>
                  <a:gd name="T110" fmla="*/ 1996 w 2880"/>
                  <a:gd name="T111" fmla="*/ 2403 h 2674"/>
                  <a:gd name="T112" fmla="*/ 1790 w 2880"/>
                  <a:gd name="T113" fmla="*/ 2259 h 2674"/>
                  <a:gd name="T114" fmla="*/ 1556 w 2880"/>
                  <a:gd name="T115" fmla="*/ 2057 h 2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80" h="2674">
                    <a:moveTo>
                      <a:pt x="1424" y="1937"/>
                    </a:moveTo>
                    <a:lnTo>
                      <a:pt x="1382" y="1997"/>
                    </a:lnTo>
                    <a:lnTo>
                      <a:pt x="1382" y="1997"/>
                    </a:lnTo>
                    <a:lnTo>
                      <a:pt x="1326" y="2079"/>
                    </a:lnTo>
                    <a:lnTo>
                      <a:pt x="1273" y="2157"/>
                    </a:lnTo>
                    <a:lnTo>
                      <a:pt x="1220" y="2227"/>
                    </a:lnTo>
                    <a:lnTo>
                      <a:pt x="1167" y="2294"/>
                    </a:lnTo>
                    <a:lnTo>
                      <a:pt x="1118" y="2354"/>
                    </a:lnTo>
                    <a:lnTo>
                      <a:pt x="1069" y="2410"/>
                    </a:lnTo>
                    <a:lnTo>
                      <a:pt x="1021" y="2459"/>
                    </a:lnTo>
                    <a:lnTo>
                      <a:pt x="973" y="2505"/>
                    </a:lnTo>
                    <a:lnTo>
                      <a:pt x="929" y="2544"/>
                    </a:lnTo>
                    <a:lnTo>
                      <a:pt x="885" y="2579"/>
                    </a:lnTo>
                    <a:lnTo>
                      <a:pt x="843" y="2607"/>
                    </a:lnTo>
                    <a:lnTo>
                      <a:pt x="801" y="2632"/>
                    </a:lnTo>
                    <a:lnTo>
                      <a:pt x="780" y="2642"/>
                    </a:lnTo>
                    <a:lnTo>
                      <a:pt x="760" y="2649"/>
                    </a:lnTo>
                    <a:lnTo>
                      <a:pt x="741" y="2658"/>
                    </a:lnTo>
                    <a:lnTo>
                      <a:pt x="722" y="2663"/>
                    </a:lnTo>
                    <a:lnTo>
                      <a:pt x="702" y="2669"/>
                    </a:lnTo>
                    <a:lnTo>
                      <a:pt x="685" y="2670"/>
                    </a:lnTo>
                    <a:lnTo>
                      <a:pt x="665" y="2674"/>
                    </a:lnTo>
                    <a:lnTo>
                      <a:pt x="648" y="2674"/>
                    </a:lnTo>
                    <a:lnTo>
                      <a:pt x="648" y="2674"/>
                    </a:lnTo>
                    <a:lnTo>
                      <a:pt x="606" y="2672"/>
                    </a:lnTo>
                    <a:lnTo>
                      <a:pt x="565" y="2665"/>
                    </a:lnTo>
                    <a:lnTo>
                      <a:pt x="525" y="2655"/>
                    </a:lnTo>
                    <a:lnTo>
                      <a:pt x="484" y="2641"/>
                    </a:lnTo>
                    <a:lnTo>
                      <a:pt x="444" y="2621"/>
                    </a:lnTo>
                    <a:lnTo>
                      <a:pt x="401" y="2598"/>
                    </a:lnTo>
                    <a:lnTo>
                      <a:pt x="361" y="2572"/>
                    </a:lnTo>
                    <a:lnTo>
                      <a:pt x="320" y="2540"/>
                    </a:lnTo>
                    <a:lnTo>
                      <a:pt x="280" y="2503"/>
                    </a:lnTo>
                    <a:lnTo>
                      <a:pt x="239" y="2465"/>
                    </a:lnTo>
                    <a:lnTo>
                      <a:pt x="201" y="2421"/>
                    </a:lnTo>
                    <a:lnTo>
                      <a:pt x="160" y="2371"/>
                    </a:lnTo>
                    <a:lnTo>
                      <a:pt x="120" y="2319"/>
                    </a:lnTo>
                    <a:lnTo>
                      <a:pt x="79" y="2262"/>
                    </a:lnTo>
                    <a:lnTo>
                      <a:pt x="40" y="2201"/>
                    </a:lnTo>
                    <a:lnTo>
                      <a:pt x="0" y="2136"/>
                    </a:lnTo>
                    <a:lnTo>
                      <a:pt x="0" y="2136"/>
                    </a:lnTo>
                    <a:lnTo>
                      <a:pt x="63" y="2139"/>
                    </a:lnTo>
                    <a:lnTo>
                      <a:pt x="63" y="2139"/>
                    </a:lnTo>
                    <a:lnTo>
                      <a:pt x="86" y="2139"/>
                    </a:lnTo>
                    <a:lnTo>
                      <a:pt x="111" y="2137"/>
                    </a:lnTo>
                    <a:lnTo>
                      <a:pt x="134" y="2134"/>
                    </a:lnTo>
                    <a:lnTo>
                      <a:pt x="158" y="2130"/>
                    </a:lnTo>
                    <a:lnTo>
                      <a:pt x="206" y="2120"/>
                    </a:lnTo>
                    <a:lnTo>
                      <a:pt x="255" y="2104"/>
                    </a:lnTo>
                    <a:lnTo>
                      <a:pt x="306" y="2083"/>
                    </a:lnTo>
                    <a:lnTo>
                      <a:pt x="357" y="2058"/>
                    </a:lnTo>
                    <a:lnTo>
                      <a:pt x="408" y="2030"/>
                    </a:lnTo>
                    <a:lnTo>
                      <a:pt x="459" y="1997"/>
                    </a:lnTo>
                    <a:lnTo>
                      <a:pt x="512" y="1958"/>
                    </a:lnTo>
                    <a:lnTo>
                      <a:pt x="565" y="1916"/>
                    </a:lnTo>
                    <a:lnTo>
                      <a:pt x="620" y="1868"/>
                    </a:lnTo>
                    <a:lnTo>
                      <a:pt x="674" y="1817"/>
                    </a:lnTo>
                    <a:lnTo>
                      <a:pt x="731" y="1763"/>
                    </a:lnTo>
                    <a:lnTo>
                      <a:pt x="785" y="1701"/>
                    </a:lnTo>
                    <a:lnTo>
                      <a:pt x="843" y="1638"/>
                    </a:lnTo>
                    <a:lnTo>
                      <a:pt x="900" y="1567"/>
                    </a:lnTo>
                    <a:lnTo>
                      <a:pt x="977" y="1471"/>
                    </a:lnTo>
                    <a:lnTo>
                      <a:pt x="877" y="1362"/>
                    </a:lnTo>
                    <a:lnTo>
                      <a:pt x="877" y="1362"/>
                    </a:lnTo>
                    <a:lnTo>
                      <a:pt x="827" y="1307"/>
                    </a:lnTo>
                    <a:lnTo>
                      <a:pt x="778" y="1253"/>
                    </a:lnTo>
                    <a:lnTo>
                      <a:pt x="734" y="1198"/>
                    </a:lnTo>
                    <a:lnTo>
                      <a:pt x="694" y="1147"/>
                    </a:lnTo>
                    <a:lnTo>
                      <a:pt x="657" y="1096"/>
                    </a:lnTo>
                    <a:lnTo>
                      <a:pt x="621" y="1045"/>
                    </a:lnTo>
                    <a:lnTo>
                      <a:pt x="590" y="996"/>
                    </a:lnTo>
                    <a:lnTo>
                      <a:pt x="563" y="948"/>
                    </a:lnTo>
                    <a:lnTo>
                      <a:pt x="539" y="901"/>
                    </a:lnTo>
                    <a:lnTo>
                      <a:pt x="518" y="855"/>
                    </a:lnTo>
                    <a:lnTo>
                      <a:pt x="498" y="811"/>
                    </a:lnTo>
                    <a:lnTo>
                      <a:pt x="484" y="767"/>
                    </a:lnTo>
                    <a:lnTo>
                      <a:pt x="472" y="723"/>
                    </a:lnTo>
                    <a:lnTo>
                      <a:pt x="465" y="683"/>
                    </a:lnTo>
                    <a:lnTo>
                      <a:pt x="459" y="642"/>
                    </a:lnTo>
                    <a:lnTo>
                      <a:pt x="458" y="602"/>
                    </a:lnTo>
                    <a:lnTo>
                      <a:pt x="458" y="602"/>
                    </a:lnTo>
                    <a:lnTo>
                      <a:pt x="459" y="570"/>
                    </a:lnTo>
                    <a:lnTo>
                      <a:pt x="465" y="537"/>
                    </a:lnTo>
                    <a:lnTo>
                      <a:pt x="474" y="503"/>
                    </a:lnTo>
                    <a:lnTo>
                      <a:pt x="486" y="468"/>
                    </a:lnTo>
                    <a:lnTo>
                      <a:pt x="502" y="433"/>
                    </a:lnTo>
                    <a:lnTo>
                      <a:pt x="523" y="398"/>
                    </a:lnTo>
                    <a:lnTo>
                      <a:pt x="546" y="361"/>
                    </a:lnTo>
                    <a:lnTo>
                      <a:pt x="572" y="324"/>
                    </a:lnTo>
                    <a:lnTo>
                      <a:pt x="604" y="287"/>
                    </a:lnTo>
                    <a:lnTo>
                      <a:pt x="637" y="248"/>
                    </a:lnTo>
                    <a:lnTo>
                      <a:pt x="674" y="208"/>
                    </a:lnTo>
                    <a:lnTo>
                      <a:pt x="716" y="167"/>
                    </a:lnTo>
                    <a:lnTo>
                      <a:pt x="760" y="127"/>
                    </a:lnTo>
                    <a:lnTo>
                      <a:pt x="810" y="84"/>
                    </a:lnTo>
                    <a:lnTo>
                      <a:pt x="861" y="42"/>
                    </a:lnTo>
                    <a:lnTo>
                      <a:pt x="917" y="0"/>
                    </a:lnTo>
                    <a:lnTo>
                      <a:pt x="917" y="0"/>
                    </a:lnTo>
                    <a:lnTo>
                      <a:pt x="926" y="56"/>
                    </a:lnTo>
                    <a:lnTo>
                      <a:pt x="938" y="111"/>
                    </a:lnTo>
                    <a:lnTo>
                      <a:pt x="951" y="165"/>
                    </a:lnTo>
                    <a:lnTo>
                      <a:pt x="966" y="222"/>
                    </a:lnTo>
                    <a:lnTo>
                      <a:pt x="984" y="276"/>
                    </a:lnTo>
                    <a:lnTo>
                      <a:pt x="1003" y="331"/>
                    </a:lnTo>
                    <a:lnTo>
                      <a:pt x="1025" y="385"/>
                    </a:lnTo>
                    <a:lnTo>
                      <a:pt x="1047" y="438"/>
                    </a:lnTo>
                    <a:lnTo>
                      <a:pt x="1074" y="493"/>
                    </a:lnTo>
                    <a:lnTo>
                      <a:pt x="1102" y="547"/>
                    </a:lnTo>
                    <a:lnTo>
                      <a:pt x="1130" y="600"/>
                    </a:lnTo>
                    <a:lnTo>
                      <a:pt x="1162" y="654"/>
                    </a:lnTo>
                    <a:lnTo>
                      <a:pt x="1197" y="707"/>
                    </a:lnTo>
                    <a:lnTo>
                      <a:pt x="1232" y="760"/>
                    </a:lnTo>
                    <a:lnTo>
                      <a:pt x="1269" y="813"/>
                    </a:lnTo>
                    <a:lnTo>
                      <a:pt x="1310" y="866"/>
                    </a:lnTo>
                    <a:lnTo>
                      <a:pt x="1396" y="975"/>
                    </a:lnTo>
                    <a:lnTo>
                      <a:pt x="1465" y="887"/>
                    </a:lnTo>
                    <a:lnTo>
                      <a:pt x="1465" y="887"/>
                    </a:lnTo>
                    <a:lnTo>
                      <a:pt x="1524" y="813"/>
                    </a:lnTo>
                    <a:lnTo>
                      <a:pt x="1583" y="742"/>
                    </a:lnTo>
                    <a:lnTo>
                      <a:pt x="1641" y="679"/>
                    </a:lnTo>
                    <a:lnTo>
                      <a:pt x="1699" y="619"/>
                    </a:lnTo>
                    <a:lnTo>
                      <a:pt x="1755" y="563"/>
                    </a:lnTo>
                    <a:lnTo>
                      <a:pt x="1811" y="514"/>
                    </a:lnTo>
                    <a:lnTo>
                      <a:pt x="1866" y="468"/>
                    </a:lnTo>
                    <a:lnTo>
                      <a:pt x="1921" y="427"/>
                    </a:lnTo>
                    <a:lnTo>
                      <a:pt x="1975" y="392"/>
                    </a:lnTo>
                    <a:lnTo>
                      <a:pt x="2028" y="361"/>
                    </a:lnTo>
                    <a:lnTo>
                      <a:pt x="2081" y="334"/>
                    </a:lnTo>
                    <a:lnTo>
                      <a:pt x="2132" y="313"/>
                    </a:lnTo>
                    <a:lnTo>
                      <a:pt x="2158" y="304"/>
                    </a:lnTo>
                    <a:lnTo>
                      <a:pt x="2183" y="296"/>
                    </a:lnTo>
                    <a:lnTo>
                      <a:pt x="2209" y="289"/>
                    </a:lnTo>
                    <a:lnTo>
                      <a:pt x="2234" y="283"/>
                    </a:lnTo>
                    <a:lnTo>
                      <a:pt x="2259" y="280"/>
                    </a:lnTo>
                    <a:lnTo>
                      <a:pt x="2283" y="276"/>
                    </a:lnTo>
                    <a:lnTo>
                      <a:pt x="2308" y="274"/>
                    </a:lnTo>
                    <a:lnTo>
                      <a:pt x="2333" y="274"/>
                    </a:lnTo>
                    <a:lnTo>
                      <a:pt x="2333" y="274"/>
                    </a:lnTo>
                    <a:lnTo>
                      <a:pt x="2369" y="276"/>
                    </a:lnTo>
                    <a:lnTo>
                      <a:pt x="2406" y="281"/>
                    </a:lnTo>
                    <a:lnTo>
                      <a:pt x="2442" y="290"/>
                    </a:lnTo>
                    <a:lnTo>
                      <a:pt x="2475" y="303"/>
                    </a:lnTo>
                    <a:lnTo>
                      <a:pt x="2509" y="320"/>
                    </a:lnTo>
                    <a:lnTo>
                      <a:pt x="2540" y="340"/>
                    </a:lnTo>
                    <a:lnTo>
                      <a:pt x="2570" y="362"/>
                    </a:lnTo>
                    <a:lnTo>
                      <a:pt x="2600" y="391"/>
                    </a:lnTo>
                    <a:lnTo>
                      <a:pt x="2628" y="420"/>
                    </a:lnTo>
                    <a:lnTo>
                      <a:pt x="2655" y="456"/>
                    </a:lnTo>
                    <a:lnTo>
                      <a:pt x="2681" y="493"/>
                    </a:lnTo>
                    <a:lnTo>
                      <a:pt x="2706" y="535"/>
                    </a:lnTo>
                    <a:lnTo>
                      <a:pt x="2730" y="581"/>
                    </a:lnTo>
                    <a:lnTo>
                      <a:pt x="2751" y="630"/>
                    </a:lnTo>
                    <a:lnTo>
                      <a:pt x="2774" y="681"/>
                    </a:lnTo>
                    <a:lnTo>
                      <a:pt x="2794" y="737"/>
                    </a:lnTo>
                    <a:lnTo>
                      <a:pt x="2794" y="737"/>
                    </a:lnTo>
                    <a:lnTo>
                      <a:pt x="2755" y="734"/>
                    </a:lnTo>
                    <a:lnTo>
                      <a:pt x="2729" y="732"/>
                    </a:lnTo>
                    <a:lnTo>
                      <a:pt x="2729" y="732"/>
                    </a:lnTo>
                    <a:lnTo>
                      <a:pt x="2711" y="732"/>
                    </a:lnTo>
                    <a:lnTo>
                      <a:pt x="2692" y="735"/>
                    </a:lnTo>
                    <a:lnTo>
                      <a:pt x="2672" y="739"/>
                    </a:lnTo>
                    <a:lnTo>
                      <a:pt x="2653" y="744"/>
                    </a:lnTo>
                    <a:lnTo>
                      <a:pt x="2632" y="749"/>
                    </a:lnTo>
                    <a:lnTo>
                      <a:pt x="2609" y="758"/>
                    </a:lnTo>
                    <a:lnTo>
                      <a:pt x="2563" y="778"/>
                    </a:lnTo>
                    <a:lnTo>
                      <a:pt x="2512" y="804"/>
                    </a:lnTo>
                    <a:lnTo>
                      <a:pt x="2459" y="836"/>
                    </a:lnTo>
                    <a:lnTo>
                      <a:pt x="2401" y="873"/>
                    </a:lnTo>
                    <a:lnTo>
                      <a:pt x="2341" y="917"/>
                    </a:lnTo>
                    <a:lnTo>
                      <a:pt x="2341" y="917"/>
                    </a:lnTo>
                    <a:lnTo>
                      <a:pt x="2280" y="964"/>
                    </a:lnTo>
                    <a:lnTo>
                      <a:pt x="2222" y="1012"/>
                    </a:lnTo>
                    <a:lnTo>
                      <a:pt x="2165" y="1063"/>
                    </a:lnTo>
                    <a:lnTo>
                      <a:pt x="2111" y="1114"/>
                    </a:lnTo>
                    <a:lnTo>
                      <a:pt x="2060" y="1166"/>
                    </a:lnTo>
                    <a:lnTo>
                      <a:pt x="2010" y="1221"/>
                    </a:lnTo>
                    <a:lnTo>
                      <a:pt x="1965" y="1275"/>
                    </a:lnTo>
                    <a:lnTo>
                      <a:pt x="1921" y="1333"/>
                    </a:lnTo>
                    <a:lnTo>
                      <a:pt x="1834" y="1450"/>
                    </a:lnTo>
                    <a:lnTo>
                      <a:pt x="1917" y="1531"/>
                    </a:lnTo>
                    <a:lnTo>
                      <a:pt x="1917" y="1531"/>
                    </a:lnTo>
                    <a:lnTo>
                      <a:pt x="1975" y="1585"/>
                    </a:lnTo>
                    <a:lnTo>
                      <a:pt x="2033" y="1636"/>
                    </a:lnTo>
                    <a:lnTo>
                      <a:pt x="2091" y="1682"/>
                    </a:lnTo>
                    <a:lnTo>
                      <a:pt x="2149" y="1726"/>
                    </a:lnTo>
                    <a:lnTo>
                      <a:pt x="2209" y="1766"/>
                    </a:lnTo>
                    <a:lnTo>
                      <a:pt x="2269" y="1803"/>
                    </a:lnTo>
                    <a:lnTo>
                      <a:pt x="2329" y="1837"/>
                    </a:lnTo>
                    <a:lnTo>
                      <a:pt x="2389" y="1867"/>
                    </a:lnTo>
                    <a:lnTo>
                      <a:pt x="2449" y="1891"/>
                    </a:lnTo>
                    <a:lnTo>
                      <a:pt x="2510" y="1914"/>
                    </a:lnTo>
                    <a:lnTo>
                      <a:pt x="2570" y="1933"/>
                    </a:lnTo>
                    <a:lnTo>
                      <a:pt x="2632" y="1949"/>
                    </a:lnTo>
                    <a:lnTo>
                      <a:pt x="2693" y="1962"/>
                    </a:lnTo>
                    <a:lnTo>
                      <a:pt x="2755" y="1970"/>
                    </a:lnTo>
                    <a:lnTo>
                      <a:pt x="2817" y="1976"/>
                    </a:lnTo>
                    <a:lnTo>
                      <a:pt x="2880" y="1977"/>
                    </a:lnTo>
                    <a:lnTo>
                      <a:pt x="2880" y="1977"/>
                    </a:lnTo>
                    <a:lnTo>
                      <a:pt x="2847" y="2042"/>
                    </a:lnTo>
                    <a:lnTo>
                      <a:pt x="2813" y="2104"/>
                    </a:lnTo>
                    <a:lnTo>
                      <a:pt x="2778" y="2162"/>
                    </a:lnTo>
                    <a:lnTo>
                      <a:pt x="2744" y="2215"/>
                    </a:lnTo>
                    <a:lnTo>
                      <a:pt x="2709" y="2262"/>
                    </a:lnTo>
                    <a:lnTo>
                      <a:pt x="2674" y="2308"/>
                    </a:lnTo>
                    <a:lnTo>
                      <a:pt x="2641" y="2349"/>
                    </a:lnTo>
                    <a:lnTo>
                      <a:pt x="2605" y="2384"/>
                    </a:lnTo>
                    <a:lnTo>
                      <a:pt x="2570" y="2415"/>
                    </a:lnTo>
                    <a:lnTo>
                      <a:pt x="2535" y="2444"/>
                    </a:lnTo>
                    <a:lnTo>
                      <a:pt x="2498" y="2466"/>
                    </a:lnTo>
                    <a:lnTo>
                      <a:pt x="2463" y="2486"/>
                    </a:lnTo>
                    <a:lnTo>
                      <a:pt x="2428" y="2500"/>
                    </a:lnTo>
                    <a:lnTo>
                      <a:pt x="2391" y="2510"/>
                    </a:lnTo>
                    <a:lnTo>
                      <a:pt x="2355" y="2517"/>
                    </a:lnTo>
                    <a:lnTo>
                      <a:pt x="2336" y="2519"/>
                    </a:lnTo>
                    <a:lnTo>
                      <a:pt x="2318" y="2519"/>
                    </a:lnTo>
                    <a:lnTo>
                      <a:pt x="2318" y="2519"/>
                    </a:lnTo>
                    <a:lnTo>
                      <a:pt x="2285" y="2517"/>
                    </a:lnTo>
                    <a:lnTo>
                      <a:pt x="2248" y="2512"/>
                    </a:lnTo>
                    <a:lnTo>
                      <a:pt x="2211" y="2503"/>
                    </a:lnTo>
                    <a:lnTo>
                      <a:pt x="2172" y="2491"/>
                    </a:lnTo>
                    <a:lnTo>
                      <a:pt x="2130" y="2473"/>
                    </a:lnTo>
                    <a:lnTo>
                      <a:pt x="2088" y="2454"/>
                    </a:lnTo>
                    <a:lnTo>
                      <a:pt x="2042" y="2431"/>
                    </a:lnTo>
                    <a:lnTo>
                      <a:pt x="1996" y="2403"/>
                    </a:lnTo>
                    <a:lnTo>
                      <a:pt x="1947" y="2373"/>
                    </a:lnTo>
                    <a:lnTo>
                      <a:pt x="1898" y="2338"/>
                    </a:lnTo>
                    <a:lnTo>
                      <a:pt x="1845" y="2301"/>
                    </a:lnTo>
                    <a:lnTo>
                      <a:pt x="1790" y="2259"/>
                    </a:lnTo>
                    <a:lnTo>
                      <a:pt x="1734" y="2215"/>
                    </a:lnTo>
                    <a:lnTo>
                      <a:pt x="1678" y="2166"/>
                    </a:lnTo>
                    <a:lnTo>
                      <a:pt x="1618" y="2113"/>
                    </a:lnTo>
                    <a:lnTo>
                      <a:pt x="1556" y="2057"/>
                    </a:lnTo>
                    <a:lnTo>
                      <a:pt x="1424" y="1937"/>
                    </a:lnTo>
                    <a:close/>
                  </a:path>
                </a:pathLst>
              </a:custGeom>
              <a:solidFill>
                <a:srgbClr val="D24150"/>
              </a:solidFill>
              <a:ln>
                <a:noFill/>
              </a:ln>
            </p:spPr>
            <p:txBody>
              <a:bodyPr vert="horz" wrap="none" lIns="91439" tIns="45720" rIns="91439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0" name="Group 129">
              <a:extLst>
                <a:ext uri="{FF2B5EF4-FFF2-40B4-BE49-F238E27FC236}">
                  <a16:creationId xmlns:a16="http://schemas.microsoft.com/office/drawing/2014/main" id="{51EFC15C-6C65-44D1-AB64-F25334C1F76E}"/>
                </a:ext>
              </a:extLst>
            </p:cNvPr>
            <p:cNvGrpSpPr/>
            <p:nvPr/>
          </p:nvGrpSpPr>
          <p:grpSpPr>
            <a:xfrm>
              <a:off x="7000714" y="1001259"/>
              <a:ext cx="757106" cy="180509"/>
              <a:chOff x="6946739" y="1001259"/>
              <a:chExt cx="757106" cy="180509"/>
            </a:xfrm>
          </p:grpSpPr>
          <p:sp>
            <p:nvSpPr>
              <p:cNvPr id="92" name="Body1 45">
                <a:extLst>
                  <a:ext uri="{FF2B5EF4-FFF2-40B4-BE49-F238E27FC236}">
                    <a16:creationId xmlns:a16="http://schemas.microsoft.com/office/drawing/2014/main" id="{97436C60-ABC1-4E2D-A972-1BFBD4FA319E}"/>
                  </a:ext>
                </a:extLst>
              </p:cNvPr>
              <p:cNvSpPr txBox="1"/>
              <p:nvPr>
                <p:custDataLst>
                  <p:tags r:id="rId5"/>
                </p:custDataLst>
              </p:nvPr>
            </p:nvSpPr>
            <p:spPr bwMode="gray">
              <a:xfrm>
                <a:off x="7179663" y="1001259"/>
                <a:ext cx="524182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671496" eaLnBrk="1" hangingPunct="1">
                  <a:buClr>
                    <a:schemeClr val="tx2"/>
                  </a:buClr>
                  <a:defRPr sz="1600" baseline="0">
                    <a:latin typeface="+mn-lt"/>
                  </a:defRPr>
                </a:lvl1pPr>
                <a:lvl2pPr marL="180000" lvl="1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2pPr>
                <a:lvl3pPr marL="360000" lvl="2" indent="-180000" defTabSz="671496" eaLnBrk="1" hangingPunct="1">
                  <a:buClr>
                    <a:schemeClr val="tx2"/>
                  </a:buClr>
                  <a:buSzPct val="100000"/>
                  <a:buFont typeface="Arial" panose="020B0604020202020204" pitchFamily="34" charset="0"/>
                  <a:buChar char="•"/>
                  <a:defRPr sz="1600" baseline="0">
                    <a:latin typeface="+mn-lt"/>
                  </a:defRPr>
                </a:lvl3pPr>
                <a:lvl4pPr marL="540000" lvl="3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–"/>
                  <a:defRPr sz="1600" baseline="0">
                    <a:latin typeface="+mn-lt"/>
                  </a:defRPr>
                </a:lvl4pPr>
                <a:lvl5pPr marL="720000" lvl="4" indent="-180000" defTabSz="671496" eaLnBrk="1" hangingPunct="1">
                  <a:buClr>
                    <a:schemeClr val="tx2"/>
                  </a:buClr>
                  <a:buSzPct val="100000"/>
                  <a:buFont typeface="Calibri" panose="020F0502020204030204" pitchFamily="34" charset="0"/>
                  <a:buChar char="»"/>
                  <a:defRPr sz="1600" baseline="0">
                    <a:latin typeface="+mn-lt"/>
                  </a:defRPr>
                </a:lvl5pPr>
                <a:lvl6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6pPr>
                <a:lvl7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7pPr>
                <a:lvl8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8pPr>
                <a:lvl9pPr marL="562342" indent="-97628" defTabSz="67149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sz="1200" baseline="0">
                    <a:latin typeface="+mn-lt"/>
                  </a:defRPr>
                </a:lvl9pPr>
              </a:lstStyle>
              <a:p>
                <a:r>
                  <a:rPr lang="de-DE" sz="1100" dirty="0">
                    <a:latin typeface="Arial" panose="020B0604020202020204" pitchFamily="34" charset="0"/>
                    <a:cs typeface="Arial" panose="020B0604020202020204" pitchFamily="34" charset="0"/>
                  </a:rPr>
                  <a:t>In Arbeit</a:t>
                </a:r>
              </a:p>
            </p:txBody>
          </p:sp>
          <p:sp>
            <p:nvSpPr>
              <p:cNvPr id="119" name="Freeform 156">
                <a:extLst>
                  <a:ext uri="{FF2B5EF4-FFF2-40B4-BE49-F238E27FC236}">
                    <a16:creationId xmlns:a16="http://schemas.microsoft.com/office/drawing/2014/main" id="{36D6429F-EA7B-4A52-A138-3DCFDFF4C70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46739" y="1005417"/>
                <a:ext cx="171109" cy="176351"/>
              </a:xfrm>
              <a:custGeom>
                <a:avLst/>
                <a:gdLst>
                  <a:gd name="T0" fmla="*/ 289 w 355"/>
                  <a:gd name="T1" fmla="*/ 170 h 366"/>
                  <a:gd name="T2" fmla="*/ 350 w 355"/>
                  <a:gd name="T3" fmla="*/ 152 h 366"/>
                  <a:gd name="T4" fmla="*/ 24 w 355"/>
                  <a:gd name="T5" fmla="*/ 258 h 366"/>
                  <a:gd name="T6" fmla="*/ 97 w 355"/>
                  <a:gd name="T7" fmla="*/ 259 h 366"/>
                  <a:gd name="T8" fmla="*/ 24 w 355"/>
                  <a:gd name="T9" fmla="*/ 258 h 366"/>
                  <a:gd name="T10" fmla="*/ 100 w 355"/>
                  <a:gd name="T11" fmla="*/ 263 h 366"/>
                  <a:gd name="T12" fmla="*/ 80 w 355"/>
                  <a:gd name="T13" fmla="*/ 331 h 366"/>
                  <a:gd name="T14" fmla="*/ 89 w 355"/>
                  <a:gd name="T15" fmla="*/ 338 h 366"/>
                  <a:gd name="T16" fmla="*/ 145 w 355"/>
                  <a:gd name="T17" fmla="*/ 295 h 366"/>
                  <a:gd name="T18" fmla="*/ 89 w 355"/>
                  <a:gd name="T19" fmla="*/ 338 h 366"/>
                  <a:gd name="T20" fmla="*/ 137 w 355"/>
                  <a:gd name="T21" fmla="*/ 359 h 366"/>
                  <a:gd name="T22" fmla="*/ 174 w 355"/>
                  <a:gd name="T23" fmla="*/ 302 h 366"/>
                  <a:gd name="T24" fmla="*/ 101 w 355"/>
                  <a:gd name="T25" fmla="*/ 124 h 366"/>
                  <a:gd name="T26" fmla="*/ 23 w 355"/>
                  <a:gd name="T27" fmla="*/ 256 h 366"/>
                  <a:gd name="T28" fmla="*/ 210 w 355"/>
                  <a:gd name="T29" fmla="*/ 24 h 366"/>
                  <a:gd name="T30" fmla="*/ 289 w 355"/>
                  <a:gd name="T31" fmla="*/ 70 h 366"/>
                  <a:gd name="T32" fmla="*/ 200 w 355"/>
                  <a:gd name="T33" fmla="*/ 87 h 366"/>
                  <a:gd name="T34" fmla="*/ 188 w 355"/>
                  <a:gd name="T35" fmla="*/ 366 h 366"/>
                  <a:gd name="T36" fmla="*/ 204 w 355"/>
                  <a:gd name="T37" fmla="*/ 300 h 366"/>
                  <a:gd name="T38" fmla="*/ 188 w 355"/>
                  <a:gd name="T39" fmla="*/ 366 h 366"/>
                  <a:gd name="T40" fmla="*/ 219 w 355"/>
                  <a:gd name="T41" fmla="*/ 296 h 366"/>
                  <a:gd name="T42" fmla="*/ 261 w 355"/>
                  <a:gd name="T43" fmla="*/ 347 h 366"/>
                  <a:gd name="T44" fmla="*/ 286 w 355"/>
                  <a:gd name="T45" fmla="*/ 332 h 366"/>
                  <a:gd name="T46" fmla="*/ 257 w 355"/>
                  <a:gd name="T47" fmla="*/ 273 h 366"/>
                  <a:gd name="T48" fmla="*/ 286 w 355"/>
                  <a:gd name="T49" fmla="*/ 332 h 366"/>
                  <a:gd name="T50" fmla="*/ 271 w 355"/>
                  <a:gd name="T51" fmla="*/ 258 h 366"/>
                  <a:gd name="T52" fmla="*/ 330 w 355"/>
                  <a:gd name="T53" fmla="*/ 283 h 366"/>
                  <a:gd name="T54" fmla="*/ 346 w 355"/>
                  <a:gd name="T55" fmla="*/ 250 h 366"/>
                  <a:gd name="T56" fmla="*/ 288 w 355"/>
                  <a:gd name="T57" fmla="*/ 221 h 366"/>
                  <a:gd name="T58" fmla="*/ 346 w 355"/>
                  <a:gd name="T59" fmla="*/ 250 h 366"/>
                  <a:gd name="T60" fmla="*/ 291 w 355"/>
                  <a:gd name="T61" fmla="*/ 198 h 366"/>
                  <a:gd name="T62" fmla="*/ 355 w 355"/>
                  <a:gd name="T63" fmla="*/ 193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55" h="366">
                    <a:moveTo>
                      <a:pt x="351" y="156"/>
                    </a:moveTo>
                    <a:cubicBezTo>
                      <a:pt x="289" y="170"/>
                      <a:pt x="289" y="170"/>
                      <a:pt x="289" y="170"/>
                    </a:cubicBezTo>
                    <a:cubicBezTo>
                      <a:pt x="288" y="167"/>
                      <a:pt x="288" y="167"/>
                      <a:pt x="288" y="167"/>
                    </a:cubicBezTo>
                    <a:cubicBezTo>
                      <a:pt x="350" y="152"/>
                      <a:pt x="350" y="152"/>
                      <a:pt x="350" y="152"/>
                    </a:cubicBezTo>
                    <a:lnTo>
                      <a:pt x="351" y="156"/>
                    </a:lnTo>
                    <a:close/>
                    <a:moveTo>
                      <a:pt x="24" y="258"/>
                    </a:moveTo>
                    <a:cubicBezTo>
                      <a:pt x="83" y="234"/>
                      <a:pt x="83" y="234"/>
                      <a:pt x="83" y="234"/>
                    </a:cubicBezTo>
                    <a:cubicBezTo>
                      <a:pt x="87" y="243"/>
                      <a:pt x="91" y="252"/>
                      <a:pt x="97" y="259"/>
                    </a:cubicBezTo>
                    <a:cubicBezTo>
                      <a:pt x="46" y="297"/>
                      <a:pt x="46" y="297"/>
                      <a:pt x="46" y="297"/>
                    </a:cubicBezTo>
                    <a:cubicBezTo>
                      <a:pt x="37" y="286"/>
                      <a:pt x="30" y="272"/>
                      <a:pt x="24" y="258"/>
                    </a:cubicBezTo>
                    <a:close/>
                    <a:moveTo>
                      <a:pt x="50" y="303"/>
                    </a:moveTo>
                    <a:cubicBezTo>
                      <a:pt x="100" y="263"/>
                      <a:pt x="100" y="263"/>
                      <a:pt x="100" y="263"/>
                    </a:cubicBezTo>
                    <a:cubicBezTo>
                      <a:pt x="105" y="269"/>
                      <a:pt x="111" y="275"/>
                      <a:pt x="118" y="280"/>
                    </a:cubicBezTo>
                    <a:cubicBezTo>
                      <a:pt x="80" y="331"/>
                      <a:pt x="80" y="331"/>
                      <a:pt x="80" y="331"/>
                    </a:cubicBezTo>
                    <a:cubicBezTo>
                      <a:pt x="69" y="323"/>
                      <a:pt x="59" y="313"/>
                      <a:pt x="50" y="303"/>
                    </a:cubicBezTo>
                    <a:close/>
                    <a:moveTo>
                      <a:pt x="89" y="338"/>
                    </a:moveTo>
                    <a:cubicBezTo>
                      <a:pt x="124" y="284"/>
                      <a:pt x="124" y="284"/>
                      <a:pt x="124" y="284"/>
                    </a:cubicBezTo>
                    <a:cubicBezTo>
                      <a:pt x="131" y="289"/>
                      <a:pt x="137" y="292"/>
                      <a:pt x="145" y="295"/>
                    </a:cubicBezTo>
                    <a:cubicBezTo>
                      <a:pt x="122" y="354"/>
                      <a:pt x="122" y="354"/>
                      <a:pt x="122" y="354"/>
                    </a:cubicBezTo>
                    <a:cubicBezTo>
                      <a:pt x="110" y="350"/>
                      <a:pt x="99" y="344"/>
                      <a:pt x="89" y="338"/>
                    </a:cubicBezTo>
                    <a:close/>
                    <a:moveTo>
                      <a:pt x="168" y="365"/>
                    </a:moveTo>
                    <a:cubicBezTo>
                      <a:pt x="157" y="364"/>
                      <a:pt x="147" y="362"/>
                      <a:pt x="137" y="359"/>
                    </a:cubicBezTo>
                    <a:cubicBezTo>
                      <a:pt x="154" y="298"/>
                      <a:pt x="154" y="298"/>
                      <a:pt x="154" y="298"/>
                    </a:cubicBezTo>
                    <a:cubicBezTo>
                      <a:pt x="160" y="300"/>
                      <a:pt x="167" y="301"/>
                      <a:pt x="174" y="302"/>
                    </a:cubicBezTo>
                    <a:lnTo>
                      <a:pt x="168" y="365"/>
                    </a:lnTo>
                    <a:close/>
                    <a:moveTo>
                      <a:pt x="101" y="124"/>
                    </a:moveTo>
                    <a:cubicBezTo>
                      <a:pt x="76" y="153"/>
                      <a:pt x="68" y="197"/>
                      <a:pt x="82" y="233"/>
                    </a:cubicBezTo>
                    <a:cubicBezTo>
                      <a:pt x="23" y="256"/>
                      <a:pt x="23" y="256"/>
                      <a:pt x="23" y="256"/>
                    </a:cubicBezTo>
                    <a:cubicBezTo>
                      <a:pt x="0" y="198"/>
                      <a:pt x="12" y="129"/>
                      <a:pt x="52" y="82"/>
                    </a:cubicBezTo>
                    <a:cubicBezTo>
                      <a:pt x="90" y="37"/>
                      <a:pt x="152" y="15"/>
                      <a:pt x="210" y="24"/>
                    </a:cubicBezTo>
                    <a:cubicBezTo>
                      <a:pt x="214" y="0"/>
                      <a:pt x="214" y="0"/>
                      <a:pt x="214" y="0"/>
                    </a:cubicBezTo>
                    <a:cubicBezTo>
                      <a:pt x="289" y="70"/>
                      <a:pt x="289" y="70"/>
                      <a:pt x="289" y="70"/>
                    </a:cubicBezTo>
                    <a:cubicBezTo>
                      <a:pt x="195" y="112"/>
                      <a:pt x="195" y="112"/>
                      <a:pt x="195" y="112"/>
                    </a:cubicBezTo>
                    <a:cubicBezTo>
                      <a:pt x="200" y="87"/>
                      <a:pt x="200" y="87"/>
                      <a:pt x="200" y="87"/>
                    </a:cubicBezTo>
                    <a:cubicBezTo>
                      <a:pt x="163" y="81"/>
                      <a:pt x="125" y="95"/>
                      <a:pt x="101" y="124"/>
                    </a:cubicBezTo>
                    <a:close/>
                    <a:moveTo>
                      <a:pt x="188" y="366"/>
                    </a:moveTo>
                    <a:cubicBezTo>
                      <a:pt x="187" y="302"/>
                      <a:pt x="187" y="302"/>
                      <a:pt x="187" y="302"/>
                    </a:cubicBezTo>
                    <a:cubicBezTo>
                      <a:pt x="192" y="302"/>
                      <a:pt x="198" y="301"/>
                      <a:pt x="204" y="300"/>
                    </a:cubicBezTo>
                    <a:cubicBezTo>
                      <a:pt x="216" y="363"/>
                      <a:pt x="216" y="363"/>
                      <a:pt x="216" y="363"/>
                    </a:cubicBezTo>
                    <a:cubicBezTo>
                      <a:pt x="207" y="364"/>
                      <a:pt x="198" y="366"/>
                      <a:pt x="188" y="366"/>
                    </a:cubicBezTo>
                    <a:close/>
                    <a:moveTo>
                      <a:pt x="240" y="356"/>
                    </a:moveTo>
                    <a:cubicBezTo>
                      <a:pt x="219" y="296"/>
                      <a:pt x="219" y="296"/>
                      <a:pt x="219" y="296"/>
                    </a:cubicBezTo>
                    <a:cubicBezTo>
                      <a:pt x="223" y="295"/>
                      <a:pt x="228" y="293"/>
                      <a:pt x="232" y="290"/>
                    </a:cubicBezTo>
                    <a:cubicBezTo>
                      <a:pt x="261" y="347"/>
                      <a:pt x="261" y="347"/>
                      <a:pt x="261" y="347"/>
                    </a:cubicBezTo>
                    <a:cubicBezTo>
                      <a:pt x="254" y="351"/>
                      <a:pt x="247" y="354"/>
                      <a:pt x="240" y="356"/>
                    </a:cubicBezTo>
                    <a:close/>
                    <a:moveTo>
                      <a:pt x="286" y="332"/>
                    </a:moveTo>
                    <a:cubicBezTo>
                      <a:pt x="248" y="281"/>
                      <a:pt x="248" y="281"/>
                      <a:pt x="248" y="281"/>
                    </a:cubicBezTo>
                    <a:cubicBezTo>
                      <a:pt x="251" y="279"/>
                      <a:pt x="254" y="276"/>
                      <a:pt x="257" y="273"/>
                    </a:cubicBezTo>
                    <a:cubicBezTo>
                      <a:pt x="300" y="320"/>
                      <a:pt x="300" y="320"/>
                      <a:pt x="300" y="320"/>
                    </a:cubicBezTo>
                    <a:cubicBezTo>
                      <a:pt x="295" y="324"/>
                      <a:pt x="291" y="329"/>
                      <a:pt x="286" y="332"/>
                    </a:cubicBezTo>
                    <a:close/>
                    <a:moveTo>
                      <a:pt x="322" y="295"/>
                    </a:moveTo>
                    <a:cubicBezTo>
                      <a:pt x="271" y="258"/>
                      <a:pt x="271" y="258"/>
                      <a:pt x="271" y="258"/>
                    </a:cubicBezTo>
                    <a:cubicBezTo>
                      <a:pt x="273" y="255"/>
                      <a:pt x="274" y="253"/>
                      <a:pt x="276" y="250"/>
                    </a:cubicBezTo>
                    <a:cubicBezTo>
                      <a:pt x="330" y="283"/>
                      <a:pt x="330" y="283"/>
                      <a:pt x="330" y="283"/>
                    </a:cubicBezTo>
                    <a:cubicBezTo>
                      <a:pt x="328" y="287"/>
                      <a:pt x="325" y="292"/>
                      <a:pt x="322" y="295"/>
                    </a:cubicBezTo>
                    <a:close/>
                    <a:moveTo>
                      <a:pt x="346" y="250"/>
                    </a:moveTo>
                    <a:cubicBezTo>
                      <a:pt x="326" y="243"/>
                      <a:pt x="306" y="237"/>
                      <a:pt x="285" y="230"/>
                    </a:cubicBezTo>
                    <a:cubicBezTo>
                      <a:pt x="287" y="227"/>
                      <a:pt x="287" y="224"/>
                      <a:pt x="288" y="221"/>
                    </a:cubicBezTo>
                    <a:cubicBezTo>
                      <a:pt x="349" y="239"/>
                      <a:pt x="349" y="239"/>
                      <a:pt x="349" y="239"/>
                    </a:cubicBezTo>
                    <a:cubicBezTo>
                      <a:pt x="348" y="243"/>
                      <a:pt x="348" y="246"/>
                      <a:pt x="346" y="250"/>
                    </a:cubicBezTo>
                    <a:close/>
                    <a:moveTo>
                      <a:pt x="355" y="199"/>
                    </a:moveTo>
                    <a:cubicBezTo>
                      <a:pt x="334" y="199"/>
                      <a:pt x="313" y="198"/>
                      <a:pt x="291" y="198"/>
                    </a:cubicBezTo>
                    <a:cubicBezTo>
                      <a:pt x="292" y="193"/>
                      <a:pt x="292" y="193"/>
                      <a:pt x="292" y="193"/>
                    </a:cubicBezTo>
                    <a:cubicBezTo>
                      <a:pt x="313" y="193"/>
                      <a:pt x="334" y="192"/>
                      <a:pt x="355" y="193"/>
                    </a:cubicBezTo>
                    <a:lnTo>
                      <a:pt x="355" y="199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</p:spPr>
            <p:txBody>
              <a:bodyPr vert="horz" wrap="square" lIns="91439" tIns="45720" rIns="91439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sz="11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3F66F6B-661C-475E-A12C-06774D9012C5}"/>
              </a:ext>
            </a:extLst>
          </p:cNvPr>
          <p:cNvCxnSpPr>
            <a:cxnSpLocks/>
          </p:cNvCxnSpPr>
          <p:nvPr/>
        </p:nvCxnSpPr>
        <p:spPr bwMode="gray">
          <a:xfrm>
            <a:off x="487362" y="1611249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BC22985-69A2-44B0-A086-A031AF57459B}"/>
              </a:ext>
            </a:extLst>
          </p:cNvPr>
          <p:cNvCxnSpPr>
            <a:cxnSpLocks/>
          </p:cNvCxnSpPr>
          <p:nvPr/>
        </p:nvCxnSpPr>
        <p:spPr bwMode="gray">
          <a:xfrm>
            <a:off x="487362" y="2615807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4ED86E1B-086E-4EFE-A980-1BACC8966261}"/>
              </a:ext>
            </a:extLst>
          </p:cNvPr>
          <p:cNvCxnSpPr>
            <a:cxnSpLocks/>
          </p:cNvCxnSpPr>
          <p:nvPr/>
        </p:nvCxnSpPr>
        <p:spPr bwMode="gray">
          <a:xfrm>
            <a:off x="487362" y="3263511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8FDEA7C-5BF2-40B1-833F-4A6AEB84155C}"/>
              </a:ext>
            </a:extLst>
          </p:cNvPr>
          <p:cNvCxnSpPr>
            <a:cxnSpLocks/>
          </p:cNvCxnSpPr>
          <p:nvPr/>
        </p:nvCxnSpPr>
        <p:spPr bwMode="gray">
          <a:xfrm flipV="1">
            <a:off x="2402505" y="2113528"/>
            <a:ext cx="6413409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Freeform 156">
            <a:extLst>
              <a:ext uri="{FF2B5EF4-FFF2-40B4-BE49-F238E27FC236}">
                <a16:creationId xmlns:a16="http://schemas.microsoft.com/office/drawing/2014/main" id="{3579CB0D-A7F1-4107-9636-9B37EEE440B8}"/>
              </a:ext>
            </a:extLst>
          </p:cNvPr>
          <p:cNvSpPr>
            <a:spLocks noEditPoints="1"/>
          </p:cNvSpPr>
          <p:nvPr/>
        </p:nvSpPr>
        <p:spPr bwMode="gray">
          <a:xfrm>
            <a:off x="8454379" y="4147035"/>
            <a:ext cx="238772" cy="246084"/>
          </a:xfrm>
          <a:custGeom>
            <a:avLst/>
            <a:gdLst>
              <a:gd name="T0" fmla="*/ 289 w 355"/>
              <a:gd name="T1" fmla="*/ 170 h 366"/>
              <a:gd name="T2" fmla="*/ 350 w 355"/>
              <a:gd name="T3" fmla="*/ 152 h 366"/>
              <a:gd name="T4" fmla="*/ 24 w 355"/>
              <a:gd name="T5" fmla="*/ 258 h 366"/>
              <a:gd name="T6" fmla="*/ 97 w 355"/>
              <a:gd name="T7" fmla="*/ 259 h 366"/>
              <a:gd name="T8" fmla="*/ 24 w 355"/>
              <a:gd name="T9" fmla="*/ 258 h 366"/>
              <a:gd name="T10" fmla="*/ 100 w 355"/>
              <a:gd name="T11" fmla="*/ 263 h 366"/>
              <a:gd name="T12" fmla="*/ 80 w 355"/>
              <a:gd name="T13" fmla="*/ 331 h 366"/>
              <a:gd name="T14" fmla="*/ 89 w 355"/>
              <a:gd name="T15" fmla="*/ 338 h 366"/>
              <a:gd name="T16" fmla="*/ 145 w 355"/>
              <a:gd name="T17" fmla="*/ 295 h 366"/>
              <a:gd name="T18" fmla="*/ 89 w 355"/>
              <a:gd name="T19" fmla="*/ 338 h 366"/>
              <a:gd name="T20" fmla="*/ 137 w 355"/>
              <a:gd name="T21" fmla="*/ 359 h 366"/>
              <a:gd name="T22" fmla="*/ 174 w 355"/>
              <a:gd name="T23" fmla="*/ 302 h 366"/>
              <a:gd name="T24" fmla="*/ 101 w 355"/>
              <a:gd name="T25" fmla="*/ 124 h 366"/>
              <a:gd name="T26" fmla="*/ 23 w 355"/>
              <a:gd name="T27" fmla="*/ 256 h 366"/>
              <a:gd name="T28" fmla="*/ 210 w 355"/>
              <a:gd name="T29" fmla="*/ 24 h 366"/>
              <a:gd name="T30" fmla="*/ 289 w 355"/>
              <a:gd name="T31" fmla="*/ 70 h 366"/>
              <a:gd name="T32" fmla="*/ 200 w 355"/>
              <a:gd name="T33" fmla="*/ 87 h 366"/>
              <a:gd name="T34" fmla="*/ 188 w 355"/>
              <a:gd name="T35" fmla="*/ 366 h 366"/>
              <a:gd name="T36" fmla="*/ 204 w 355"/>
              <a:gd name="T37" fmla="*/ 300 h 366"/>
              <a:gd name="T38" fmla="*/ 188 w 355"/>
              <a:gd name="T39" fmla="*/ 366 h 366"/>
              <a:gd name="T40" fmla="*/ 219 w 355"/>
              <a:gd name="T41" fmla="*/ 296 h 366"/>
              <a:gd name="T42" fmla="*/ 261 w 355"/>
              <a:gd name="T43" fmla="*/ 347 h 366"/>
              <a:gd name="T44" fmla="*/ 286 w 355"/>
              <a:gd name="T45" fmla="*/ 332 h 366"/>
              <a:gd name="T46" fmla="*/ 257 w 355"/>
              <a:gd name="T47" fmla="*/ 273 h 366"/>
              <a:gd name="T48" fmla="*/ 286 w 355"/>
              <a:gd name="T49" fmla="*/ 332 h 366"/>
              <a:gd name="T50" fmla="*/ 271 w 355"/>
              <a:gd name="T51" fmla="*/ 258 h 366"/>
              <a:gd name="T52" fmla="*/ 330 w 355"/>
              <a:gd name="T53" fmla="*/ 283 h 366"/>
              <a:gd name="T54" fmla="*/ 346 w 355"/>
              <a:gd name="T55" fmla="*/ 250 h 366"/>
              <a:gd name="T56" fmla="*/ 288 w 355"/>
              <a:gd name="T57" fmla="*/ 221 h 366"/>
              <a:gd name="T58" fmla="*/ 346 w 355"/>
              <a:gd name="T59" fmla="*/ 250 h 366"/>
              <a:gd name="T60" fmla="*/ 291 w 355"/>
              <a:gd name="T61" fmla="*/ 198 h 366"/>
              <a:gd name="T62" fmla="*/ 355 w 355"/>
              <a:gd name="T63" fmla="*/ 19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5" h="366">
                <a:moveTo>
                  <a:pt x="351" y="156"/>
                </a:moveTo>
                <a:cubicBezTo>
                  <a:pt x="289" y="170"/>
                  <a:pt x="289" y="170"/>
                  <a:pt x="289" y="170"/>
                </a:cubicBezTo>
                <a:cubicBezTo>
                  <a:pt x="288" y="167"/>
                  <a:pt x="288" y="167"/>
                  <a:pt x="288" y="167"/>
                </a:cubicBezTo>
                <a:cubicBezTo>
                  <a:pt x="350" y="152"/>
                  <a:pt x="350" y="152"/>
                  <a:pt x="350" y="152"/>
                </a:cubicBezTo>
                <a:lnTo>
                  <a:pt x="351" y="156"/>
                </a:lnTo>
                <a:close/>
                <a:moveTo>
                  <a:pt x="24" y="258"/>
                </a:moveTo>
                <a:cubicBezTo>
                  <a:pt x="83" y="234"/>
                  <a:pt x="83" y="234"/>
                  <a:pt x="83" y="234"/>
                </a:cubicBezTo>
                <a:cubicBezTo>
                  <a:pt x="87" y="243"/>
                  <a:pt x="91" y="252"/>
                  <a:pt x="97" y="259"/>
                </a:cubicBezTo>
                <a:cubicBezTo>
                  <a:pt x="46" y="297"/>
                  <a:pt x="46" y="297"/>
                  <a:pt x="46" y="297"/>
                </a:cubicBezTo>
                <a:cubicBezTo>
                  <a:pt x="37" y="286"/>
                  <a:pt x="30" y="272"/>
                  <a:pt x="24" y="258"/>
                </a:cubicBezTo>
                <a:close/>
                <a:moveTo>
                  <a:pt x="50" y="303"/>
                </a:moveTo>
                <a:cubicBezTo>
                  <a:pt x="100" y="263"/>
                  <a:pt x="100" y="263"/>
                  <a:pt x="100" y="263"/>
                </a:cubicBezTo>
                <a:cubicBezTo>
                  <a:pt x="105" y="269"/>
                  <a:pt x="111" y="275"/>
                  <a:pt x="118" y="280"/>
                </a:cubicBezTo>
                <a:cubicBezTo>
                  <a:pt x="80" y="331"/>
                  <a:pt x="80" y="331"/>
                  <a:pt x="80" y="331"/>
                </a:cubicBezTo>
                <a:cubicBezTo>
                  <a:pt x="69" y="323"/>
                  <a:pt x="59" y="313"/>
                  <a:pt x="50" y="303"/>
                </a:cubicBezTo>
                <a:close/>
                <a:moveTo>
                  <a:pt x="89" y="338"/>
                </a:moveTo>
                <a:cubicBezTo>
                  <a:pt x="124" y="284"/>
                  <a:pt x="124" y="284"/>
                  <a:pt x="124" y="284"/>
                </a:cubicBezTo>
                <a:cubicBezTo>
                  <a:pt x="131" y="289"/>
                  <a:pt x="137" y="292"/>
                  <a:pt x="145" y="295"/>
                </a:cubicBezTo>
                <a:cubicBezTo>
                  <a:pt x="122" y="354"/>
                  <a:pt x="122" y="354"/>
                  <a:pt x="122" y="354"/>
                </a:cubicBezTo>
                <a:cubicBezTo>
                  <a:pt x="110" y="350"/>
                  <a:pt x="99" y="344"/>
                  <a:pt x="89" y="338"/>
                </a:cubicBezTo>
                <a:close/>
                <a:moveTo>
                  <a:pt x="168" y="365"/>
                </a:moveTo>
                <a:cubicBezTo>
                  <a:pt x="157" y="364"/>
                  <a:pt x="147" y="362"/>
                  <a:pt x="137" y="359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60" y="300"/>
                  <a:pt x="167" y="301"/>
                  <a:pt x="174" y="302"/>
                </a:cubicBezTo>
                <a:lnTo>
                  <a:pt x="168" y="365"/>
                </a:lnTo>
                <a:close/>
                <a:moveTo>
                  <a:pt x="101" y="124"/>
                </a:moveTo>
                <a:cubicBezTo>
                  <a:pt x="76" y="153"/>
                  <a:pt x="68" y="197"/>
                  <a:pt x="82" y="233"/>
                </a:cubicBezTo>
                <a:cubicBezTo>
                  <a:pt x="23" y="256"/>
                  <a:pt x="23" y="256"/>
                  <a:pt x="23" y="256"/>
                </a:cubicBezTo>
                <a:cubicBezTo>
                  <a:pt x="0" y="198"/>
                  <a:pt x="12" y="129"/>
                  <a:pt x="52" y="82"/>
                </a:cubicBezTo>
                <a:cubicBezTo>
                  <a:pt x="90" y="37"/>
                  <a:pt x="152" y="15"/>
                  <a:pt x="210" y="24"/>
                </a:cubicBezTo>
                <a:cubicBezTo>
                  <a:pt x="214" y="0"/>
                  <a:pt x="214" y="0"/>
                  <a:pt x="214" y="0"/>
                </a:cubicBezTo>
                <a:cubicBezTo>
                  <a:pt x="289" y="70"/>
                  <a:pt x="289" y="70"/>
                  <a:pt x="289" y="70"/>
                </a:cubicBezTo>
                <a:cubicBezTo>
                  <a:pt x="195" y="112"/>
                  <a:pt x="195" y="112"/>
                  <a:pt x="195" y="112"/>
                </a:cubicBezTo>
                <a:cubicBezTo>
                  <a:pt x="200" y="87"/>
                  <a:pt x="200" y="87"/>
                  <a:pt x="200" y="87"/>
                </a:cubicBezTo>
                <a:cubicBezTo>
                  <a:pt x="163" y="81"/>
                  <a:pt x="125" y="95"/>
                  <a:pt x="101" y="124"/>
                </a:cubicBezTo>
                <a:close/>
                <a:moveTo>
                  <a:pt x="188" y="366"/>
                </a:moveTo>
                <a:cubicBezTo>
                  <a:pt x="187" y="302"/>
                  <a:pt x="187" y="302"/>
                  <a:pt x="187" y="302"/>
                </a:cubicBezTo>
                <a:cubicBezTo>
                  <a:pt x="192" y="302"/>
                  <a:pt x="198" y="301"/>
                  <a:pt x="204" y="300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07" y="364"/>
                  <a:pt x="198" y="366"/>
                  <a:pt x="188" y="366"/>
                </a:cubicBezTo>
                <a:close/>
                <a:moveTo>
                  <a:pt x="240" y="356"/>
                </a:moveTo>
                <a:cubicBezTo>
                  <a:pt x="219" y="296"/>
                  <a:pt x="219" y="296"/>
                  <a:pt x="219" y="296"/>
                </a:cubicBezTo>
                <a:cubicBezTo>
                  <a:pt x="223" y="295"/>
                  <a:pt x="228" y="293"/>
                  <a:pt x="232" y="290"/>
                </a:cubicBezTo>
                <a:cubicBezTo>
                  <a:pt x="261" y="347"/>
                  <a:pt x="261" y="347"/>
                  <a:pt x="261" y="347"/>
                </a:cubicBezTo>
                <a:cubicBezTo>
                  <a:pt x="254" y="351"/>
                  <a:pt x="247" y="354"/>
                  <a:pt x="240" y="356"/>
                </a:cubicBezTo>
                <a:close/>
                <a:moveTo>
                  <a:pt x="286" y="332"/>
                </a:moveTo>
                <a:cubicBezTo>
                  <a:pt x="248" y="281"/>
                  <a:pt x="248" y="281"/>
                  <a:pt x="248" y="281"/>
                </a:cubicBezTo>
                <a:cubicBezTo>
                  <a:pt x="251" y="279"/>
                  <a:pt x="254" y="276"/>
                  <a:pt x="257" y="273"/>
                </a:cubicBezTo>
                <a:cubicBezTo>
                  <a:pt x="300" y="320"/>
                  <a:pt x="300" y="320"/>
                  <a:pt x="300" y="320"/>
                </a:cubicBezTo>
                <a:cubicBezTo>
                  <a:pt x="295" y="324"/>
                  <a:pt x="291" y="329"/>
                  <a:pt x="286" y="332"/>
                </a:cubicBezTo>
                <a:close/>
                <a:moveTo>
                  <a:pt x="322" y="295"/>
                </a:moveTo>
                <a:cubicBezTo>
                  <a:pt x="271" y="258"/>
                  <a:pt x="271" y="258"/>
                  <a:pt x="271" y="258"/>
                </a:cubicBezTo>
                <a:cubicBezTo>
                  <a:pt x="273" y="255"/>
                  <a:pt x="274" y="253"/>
                  <a:pt x="276" y="250"/>
                </a:cubicBezTo>
                <a:cubicBezTo>
                  <a:pt x="330" y="283"/>
                  <a:pt x="330" y="283"/>
                  <a:pt x="330" y="283"/>
                </a:cubicBezTo>
                <a:cubicBezTo>
                  <a:pt x="328" y="287"/>
                  <a:pt x="325" y="292"/>
                  <a:pt x="322" y="295"/>
                </a:cubicBezTo>
                <a:close/>
                <a:moveTo>
                  <a:pt x="346" y="250"/>
                </a:moveTo>
                <a:cubicBezTo>
                  <a:pt x="326" y="243"/>
                  <a:pt x="306" y="237"/>
                  <a:pt x="285" y="230"/>
                </a:cubicBezTo>
                <a:cubicBezTo>
                  <a:pt x="287" y="227"/>
                  <a:pt x="287" y="224"/>
                  <a:pt x="288" y="221"/>
                </a:cubicBezTo>
                <a:cubicBezTo>
                  <a:pt x="349" y="239"/>
                  <a:pt x="349" y="239"/>
                  <a:pt x="349" y="239"/>
                </a:cubicBezTo>
                <a:cubicBezTo>
                  <a:pt x="348" y="243"/>
                  <a:pt x="348" y="246"/>
                  <a:pt x="346" y="250"/>
                </a:cubicBezTo>
                <a:close/>
                <a:moveTo>
                  <a:pt x="355" y="199"/>
                </a:moveTo>
                <a:cubicBezTo>
                  <a:pt x="334" y="199"/>
                  <a:pt x="313" y="198"/>
                  <a:pt x="291" y="198"/>
                </a:cubicBezTo>
                <a:cubicBezTo>
                  <a:pt x="292" y="193"/>
                  <a:pt x="292" y="193"/>
                  <a:pt x="292" y="193"/>
                </a:cubicBezTo>
                <a:cubicBezTo>
                  <a:pt x="313" y="193"/>
                  <a:pt x="334" y="192"/>
                  <a:pt x="355" y="193"/>
                </a:cubicBezTo>
                <a:lnTo>
                  <a:pt x="355" y="19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5" name="Freeform 156">
            <a:extLst>
              <a:ext uri="{FF2B5EF4-FFF2-40B4-BE49-F238E27FC236}">
                <a16:creationId xmlns:a16="http://schemas.microsoft.com/office/drawing/2014/main" id="{D42A19F5-ED79-40DE-93C1-2264295F414C}"/>
              </a:ext>
            </a:extLst>
          </p:cNvPr>
          <p:cNvSpPr>
            <a:spLocks noEditPoints="1"/>
          </p:cNvSpPr>
          <p:nvPr/>
        </p:nvSpPr>
        <p:spPr bwMode="gray">
          <a:xfrm>
            <a:off x="8454379" y="2816617"/>
            <a:ext cx="238772" cy="246084"/>
          </a:xfrm>
          <a:custGeom>
            <a:avLst/>
            <a:gdLst>
              <a:gd name="T0" fmla="*/ 289 w 355"/>
              <a:gd name="T1" fmla="*/ 170 h 366"/>
              <a:gd name="T2" fmla="*/ 350 w 355"/>
              <a:gd name="T3" fmla="*/ 152 h 366"/>
              <a:gd name="T4" fmla="*/ 24 w 355"/>
              <a:gd name="T5" fmla="*/ 258 h 366"/>
              <a:gd name="T6" fmla="*/ 97 w 355"/>
              <a:gd name="T7" fmla="*/ 259 h 366"/>
              <a:gd name="T8" fmla="*/ 24 w 355"/>
              <a:gd name="T9" fmla="*/ 258 h 366"/>
              <a:gd name="T10" fmla="*/ 100 w 355"/>
              <a:gd name="T11" fmla="*/ 263 h 366"/>
              <a:gd name="T12" fmla="*/ 80 w 355"/>
              <a:gd name="T13" fmla="*/ 331 h 366"/>
              <a:gd name="T14" fmla="*/ 89 w 355"/>
              <a:gd name="T15" fmla="*/ 338 h 366"/>
              <a:gd name="T16" fmla="*/ 145 w 355"/>
              <a:gd name="T17" fmla="*/ 295 h 366"/>
              <a:gd name="T18" fmla="*/ 89 w 355"/>
              <a:gd name="T19" fmla="*/ 338 h 366"/>
              <a:gd name="T20" fmla="*/ 137 w 355"/>
              <a:gd name="T21" fmla="*/ 359 h 366"/>
              <a:gd name="T22" fmla="*/ 174 w 355"/>
              <a:gd name="T23" fmla="*/ 302 h 366"/>
              <a:gd name="T24" fmla="*/ 101 w 355"/>
              <a:gd name="T25" fmla="*/ 124 h 366"/>
              <a:gd name="T26" fmla="*/ 23 w 355"/>
              <a:gd name="T27" fmla="*/ 256 h 366"/>
              <a:gd name="T28" fmla="*/ 210 w 355"/>
              <a:gd name="T29" fmla="*/ 24 h 366"/>
              <a:gd name="T30" fmla="*/ 289 w 355"/>
              <a:gd name="T31" fmla="*/ 70 h 366"/>
              <a:gd name="T32" fmla="*/ 200 w 355"/>
              <a:gd name="T33" fmla="*/ 87 h 366"/>
              <a:gd name="T34" fmla="*/ 188 w 355"/>
              <a:gd name="T35" fmla="*/ 366 h 366"/>
              <a:gd name="T36" fmla="*/ 204 w 355"/>
              <a:gd name="T37" fmla="*/ 300 h 366"/>
              <a:gd name="T38" fmla="*/ 188 w 355"/>
              <a:gd name="T39" fmla="*/ 366 h 366"/>
              <a:gd name="T40" fmla="*/ 219 w 355"/>
              <a:gd name="T41" fmla="*/ 296 h 366"/>
              <a:gd name="T42" fmla="*/ 261 w 355"/>
              <a:gd name="T43" fmla="*/ 347 h 366"/>
              <a:gd name="T44" fmla="*/ 286 w 355"/>
              <a:gd name="T45" fmla="*/ 332 h 366"/>
              <a:gd name="T46" fmla="*/ 257 w 355"/>
              <a:gd name="T47" fmla="*/ 273 h 366"/>
              <a:gd name="T48" fmla="*/ 286 w 355"/>
              <a:gd name="T49" fmla="*/ 332 h 366"/>
              <a:gd name="T50" fmla="*/ 271 w 355"/>
              <a:gd name="T51" fmla="*/ 258 h 366"/>
              <a:gd name="T52" fmla="*/ 330 w 355"/>
              <a:gd name="T53" fmla="*/ 283 h 366"/>
              <a:gd name="T54" fmla="*/ 346 w 355"/>
              <a:gd name="T55" fmla="*/ 250 h 366"/>
              <a:gd name="T56" fmla="*/ 288 w 355"/>
              <a:gd name="T57" fmla="*/ 221 h 366"/>
              <a:gd name="T58" fmla="*/ 346 w 355"/>
              <a:gd name="T59" fmla="*/ 250 h 366"/>
              <a:gd name="T60" fmla="*/ 291 w 355"/>
              <a:gd name="T61" fmla="*/ 198 h 366"/>
              <a:gd name="T62" fmla="*/ 355 w 355"/>
              <a:gd name="T63" fmla="*/ 19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5" h="366">
                <a:moveTo>
                  <a:pt x="351" y="156"/>
                </a:moveTo>
                <a:cubicBezTo>
                  <a:pt x="289" y="170"/>
                  <a:pt x="289" y="170"/>
                  <a:pt x="289" y="170"/>
                </a:cubicBezTo>
                <a:cubicBezTo>
                  <a:pt x="288" y="167"/>
                  <a:pt x="288" y="167"/>
                  <a:pt x="288" y="167"/>
                </a:cubicBezTo>
                <a:cubicBezTo>
                  <a:pt x="350" y="152"/>
                  <a:pt x="350" y="152"/>
                  <a:pt x="350" y="152"/>
                </a:cubicBezTo>
                <a:lnTo>
                  <a:pt x="351" y="156"/>
                </a:lnTo>
                <a:close/>
                <a:moveTo>
                  <a:pt x="24" y="258"/>
                </a:moveTo>
                <a:cubicBezTo>
                  <a:pt x="83" y="234"/>
                  <a:pt x="83" y="234"/>
                  <a:pt x="83" y="234"/>
                </a:cubicBezTo>
                <a:cubicBezTo>
                  <a:pt x="87" y="243"/>
                  <a:pt x="91" y="252"/>
                  <a:pt x="97" y="259"/>
                </a:cubicBezTo>
                <a:cubicBezTo>
                  <a:pt x="46" y="297"/>
                  <a:pt x="46" y="297"/>
                  <a:pt x="46" y="297"/>
                </a:cubicBezTo>
                <a:cubicBezTo>
                  <a:pt x="37" y="286"/>
                  <a:pt x="30" y="272"/>
                  <a:pt x="24" y="258"/>
                </a:cubicBezTo>
                <a:close/>
                <a:moveTo>
                  <a:pt x="50" y="303"/>
                </a:moveTo>
                <a:cubicBezTo>
                  <a:pt x="100" y="263"/>
                  <a:pt x="100" y="263"/>
                  <a:pt x="100" y="263"/>
                </a:cubicBezTo>
                <a:cubicBezTo>
                  <a:pt x="105" y="269"/>
                  <a:pt x="111" y="275"/>
                  <a:pt x="118" y="280"/>
                </a:cubicBezTo>
                <a:cubicBezTo>
                  <a:pt x="80" y="331"/>
                  <a:pt x="80" y="331"/>
                  <a:pt x="80" y="331"/>
                </a:cubicBezTo>
                <a:cubicBezTo>
                  <a:pt x="69" y="323"/>
                  <a:pt x="59" y="313"/>
                  <a:pt x="50" y="303"/>
                </a:cubicBezTo>
                <a:close/>
                <a:moveTo>
                  <a:pt x="89" y="338"/>
                </a:moveTo>
                <a:cubicBezTo>
                  <a:pt x="124" y="284"/>
                  <a:pt x="124" y="284"/>
                  <a:pt x="124" y="284"/>
                </a:cubicBezTo>
                <a:cubicBezTo>
                  <a:pt x="131" y="289"/>
                  <a:pt x="137" y="292"/>
                  <a:pt x="145" y="295"/>
                </a:cubicBezTo>
                <a:cubicBezTo>
                  <a:pt x="122" y="354"/>
                  <a:pt x="122" y="354"/>
                  <a:pt x="122" y="354"/>
                </a:cubicBezTo>
                <a:cubicBezTo>
                  <a:pt x="110" y="350"/>
                  <a:pt x="99" y="344"/>
                  <a:pt x="89" y="338"/>
                </a:cubicBezTo>
                <a:close/>
                <a:moveTo>
                  <a:pt x="168" y="365"/>
                </a:moveTo>
                <a:cubicBezTo>
                  <a:pt x="157" y="364"/>
                  <a:pt x="147" y="362"/>
                  <a:pt x="137" y="359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60" y="300"/>
                  <a:pt x="167" y="301"/>
                  <a:pt x="174" y="302"/>
                </a:cubicBezTo>
                <a:lnTo>
                  <a:pt x="168" y="365"/>
                </a:lnTo>
                <a:close/>
                <a:moveTo>
                  <a:pt x="101" y="124"/>
                </a:moveTo>
                <a:cubicBezTo>
                  <a:pt x="76" y="153"/>
                  <a:pt x="68" y="197"/>
                  <a:pt x="82" y="233"/>
                </a:cubicBezTo>
                <a:cubicBezTo>
                  <a:pt x="23" y="256"/>
                  <a:pt x="23" y="256"/>
                  <a:pt x="23" y="256"/>
                </a:cubicBezTo>
                <a:cubicBezTo>
                  <a:pt x="0" y="198"/>
                  <a:pt x="12" y="129"/>
                  <a:pt x="52" y="82"/>
                </a:cubicBezTo>
                <a:cubicBezTo>
                  <a:pt x="90" y="37"/>
                  <a:pt x="152" y="15"/>
                  <a:pt x="210" y="24"/>
                </a:cubicBezTo>
                <a:cubicBezTo>
                  <a:pt x="214" y="0"/>
                  <a:pt x="214" y="0"/>
                  <a:pt x="214" y="0"/>
                </a:cubicBezTo>
                <a:cubicBezTo>
                  <a:pt x="289" y="70"/>
                  <a:pt x="289" y="70"/>
                  <a:pt x="289" y="70"/>
                </a:cubicBezTo>
                <a:cubicBezTo>
                  <a:pt x="195" y="112"/>
                  <a:pt x="195" y="112"/>
                  <a:pt x="195" y="112"/>
                </a:cubicBezTo>
                <a:cubicBezTo>
                  <a:pt x="200" y="87"/>
                  <a:pt x="200" y="87"/>
                  <a:pt x="200" y="87"/>
                </a:cubicBezTo>
                <a:cubicBezTo>
                  <a:pt x="163" y="81"/>
                  <a:pt x="125" y="95"/>
                  <a:pt x="101" y="124"/>
                </a:cubicBezTo>
                <a:close/>
                <a:moveTo>
                  <a:pt x="188" y="366"/>
                </a:moveTo>
                <a:cubicBezTo>
                  <a:pt x="187" y="302"/>
                  <a:pt x="187" y="302"/>
                  <a:pt x="187" y="302"/>
                </a:cubicBezTo>
                <a:cubicBezTo>
                  <a:pt x="192" y="302"/>
                  <a:pt x="198" y="301"/>
                  <a:pt x="204" y="300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07" y="364"/>
                  <a:pt x="198" y="366"/>
                  <a:pt x="188" y="366"/>
                </a:cubicBezTo>
                <a:close/>
                <a:moveTo>
                  <a:pt x="240" y="356"/>
                </a:moveTo>
                <a:cubicBezTo>
                  <a:pt x="219" y="296"/>
                  <a:pt x="219" y="296"/>
                  <a:pt x="219" y="296"/>
                </a:cubicBezTo>
                <a:cubicBezTo>
                  <a:pt x="223" y="295"/>
                  <a:pt x="228" y="293"/>
                  <a:pt x="232" y="290"/>
                </a:cubicBezTo>
                <a:cubicBezTo>
                  <a:pt x="261" y="347"/>
                  <a:pt x="261" y="347"/>
                  <a:pt x="261" y="347"/>
                </a:cubicBezTo>
                <a:cubicBezTo>
                  <a:pt x="254" y="351"/>
                  <a:pt x="247" y="354"/>
                  <a:pt x="240" y="356"/>
                </a:cubicBezTo>
                <a:close/>
                <a:moveTo>
                  <a:pt x="286" y="332"/>
                </a:moveTo>
                <a:cubicBezTo>
                  <a:pt x="248" y="281"/>
                  <a:pt x="248" y="281"/>
                  <a:pt x="248" y="281"/>
                </a:cubicBezTo>
                <a:cubicBezTo>
                  <a:pt x="251" y="279"/>
                  <a:pt x="254" y="276"/>
                  <a:pt x="257" y="273"/>
                </a:cubicBezTo>
                <a:cubicBezTo>
                  <a:pt x="300" y="320"/>
                  <a:pt x="300" y="320"/>
                  <a:pt x="300" y="320"/>
                </a:cubicBezTo>
                <a:cubicBezTo>
                  <a:pt x="295" y="324"/>
                  <a:pt x="291" y="329"/>
                  <a:pt x="286" y="332"/>
                </a:cubicBezTo>
                <a:close/>
                <a:moveTo>
                  <a:pt x="322" y="295"/>
                </a:moveTo>
                <a:cubicBezTo>
                  <a:pt x="271" y="258"/>
                  <a:pt x="271" y="258"/>
                  <a:pt x="271" y="258"/>
                </a:cubicBezTo>
                <a:cubicBezTo>
                  <a:pt x="273" y="255"/>
                  <a:pt x="274" y="253"/>
                  <a:pt x="276" y="250"/>
                </a:cubicBezTo>
                <a:cubicBezTo>
                  <a:pt x="330" y="283"/>
                  <a:pt x="330" y="283"/>
                  <a:pt x="330" y="283"/>
                </a:cubicBezTo>
                <a:cubicBezTo>
                  <a:pt x="328" y="287"/>
                  <a:pt x="325" y="292"/>
                  <a:pt x="322" y="295"/>
                </a:cubicBezTo>
                <a:close/>
                <a:moveTo>
                  <a:pt x="346" y="250"/>
                </a:moveTo>
                <a:cubicBezTo>
                  <a:pt x="326" y="243"/>
                  <a:pt x="306" y="237"/>
                  <a:pt x="285" y="230"/>
                </a:cubicBezTo>
                <a:cubicBezTo>
                  <a:pt x="287" y="227"/>
                  <a:pt x="287" y="224"/>
                  <a:pt x="288" y="221"/>
                </a:cubicBezTo>
                <a:cubicBezTo>
                  <a:pt x="349" y="239"/>
                  <a:pt x="349" y="239"/>
                  <a:pt x="349" y="239"/>
                </a:cubicBezTo>
                <a:cubicBezTo>
                  <a:pt x="348" y="243"/>
                  <a:pt x="348" y="246"/>
                  <a:pt x="346" y="250"/>
                </a:cubicBezTo>
                <a:close/>
                <a:moveTo>
                  <a:pt x="355" y="199"/>
                </a:moveTo>
                <a:cubicBezTo>
                  <a:pt x="334" y="199"/>
                  <a:pt x="313" y="198"/>
                  <a:pt x="291" y="198"/>
                </a:cubicBezTo>
                <a:cubicBezTo>
                  <a:pt x="292" y="193"/>
                  <a:pt x="292" y="193"/>
                  <a:pt x="292" y="193"/>
                </a:cubicBezTo>
                <a:cubicBezTo>
                  <a:pt x="313" y="193"/>
                  <a:pt x="334" y="192"/>
                  <a:pt x="355" y="193"/>
                </a:cubicBezTo>
                <a:lnTo>
                  <a:pt x="355" y="19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9" name="Freeform 99">
            <a:extLst>
              <a:ext uri="{FF2B5EF4-FFF2-40B4-BE49-F238E27FC236}">
                <a16:creationId xmlns:a16="http://schemas.microsoft.com/office/drawing/2014/main" id="{09D87F8B-F046-4A6D-89B5-2ECFE514C14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8435434" y="2233437"/>
            <a:ext cx="276660" cy="262462"/>
          </a:xfrm>
          <a:custGeom>
            <a:avLst/>
            <a:gdLst>
              <a:gd name="T0" fmla="*/ 3040 w 3040"/>
              <a:gd name="T1" fmla="*/ 109 h 2884"/>
              <a:gd name="T2" fmla="*/ 2860 w 3040"/>
              <a:gd name="T3" fmla="*/ 256 h 2884"/>
              <a:gd name="T4" fmla="*/ 2673 w 3040"/>
              <a:gd name="T5" fmla="*/ 428 h 2884"/>
              <a:gd name="T6" fmla="*/ 2479 w 3040"/>
              <a:gd name="T7" fmla="*/ 627 h 2884"/>
              <a:gd name="T8" fmla="*/ 2277 w 3040"/>
              <a:gd name="T9" fmla="*/ 853 h 2884"/>
              <a:gd name="T10" fmla="*/ 2067 w 3040"/>
              <a:gd name="T11" fmla="*/ 1106 h 2884"/>
              <a:gd name="T12" fmla="*/ 1926 w 3040"/>
              <a:gd name="T13" fmla="*/ 1287 h 2884"/>
              <a:gd name="T14" fmla="*/ 1727 w 3040"/>
              <a:gd name="T15" fmla="*/ 1556 h 2884"/>
              <a:gd name="T16" fmla="*/ 1546 w 3040"/>
              <a:gd name="T17" fmla="*/ 1819 h 2884"/>
              <a:gd name="T18" fmla="*/ 1385 w 3040"/>
              <a:gd name="T19" fmla="*/ 2076 h 2884"/>
              <a:gd name="T20" fmla="*/ 1243 w 3040"/>
              <a:gd name="T21" fmla="*/ 2324 h 2884"/>
              <a:gd name="T22" fmla="*/ 1120 w 3040"/>
              <a:gd name="T23" fmla="*/ 2567 h 2884"/>
              <a:gd name="T24" fmla="*/ 865 w 3040"/>
              <a:gd name="T25" fmla="*/ 2741 h 2884"/>
              <a:gd name="T26" fmla="*/ 704 w 3040"/>
              <a:gd name="T27" fmla="*/ 2867 h 2884"/>
              <a:gd name="T28" fmla="*/ 675 w 3040"/>
              <a:gd name="T29" fmla="*/ 2856 h 2884"/>
              <a:gd name="T30" fmla="*/ 603 w 3040"/>
              <a:gd name="T31" fmla="*/ 2655 h 2884"/>
              <a:gd name="T32" fmla="*/ 498 w 3040"/>
              <a:gd name="T33" fmla="*/ 2404 h 2884"/>
              <a:gd name="T34" fmla="*/ 401 w 3040"/>
              <a:gd name="T35" fmla="*/ 2197 h 2884"/>
              <a:gd name="T36" fmla="*/ 311 w 3040"/>
              <a:gd name="T37" fmla="*/ 2034 h 2884"/>
              <a:gd name="T38" fmla="*/ 253 w 3040"/>
              <a:gd name="T39" fmla="*/ 1950 h 2884"/>
              <a:gd name="T40" fmla="*/ 164 w 3040"/>
              <a:gd name="T41" fmla="*/ 1855 h 2884"/>
              <a:gd name="T42" fmla="*/ 69 w 3040"/>
              <a:gd name="T43" fmla="*/ 1786 h 2884"/>
              <a:gd name="T44" fmla="*/ 0 w 3040"/>
              <a:gd name="T45" fmla="*/ 1757 h 2884"/>
              <a:gd name="T46" fmla="*/ 87 w 3040"/>
              <a:gd name="T47" fmla="*/ 1672 h 2884"/>
              <a:gd name="T48" fmla="*/ 172 w 3040"/>
              <a:gd name="T49" fmla="*/ 1605 h 2884"/>
              <a:gd name="T50" fmla="*/ 254 w 3040"/>
              <a:gd name="T51" fmla="*/ 1555 h 2884"/>
              <a:gd name="T52" fmla="*/ 332 w 3040"/>
              <a:gd name="T53" fmla="*/ 1523 h 2884"/>
              <a:gd name="T54" fmla="*/ 409 w 3040"/>
              <a:gd name="T55" fmla="*/ 1508 h 2884"/>
              <a:gd name="T56" fmla="*/ 444 w 3040"/>
              <a:gd name="T57" fmla="*/ 1507 h 2884"/>
              <a:gd name="T58" fmla="*/ 476 w 3040"/>
              <a:gd name="T59" fmla="*/ 1513 h 2884"/>
              <a:gd name="T60" fmla="*/ 543 w 3040"/>
              <a:gd name="T61" fmla="*/ 1551 h 2884"/>
              <a:gd name="T62" fmla="*/ 612 w 3040"/>
              <a:gd name="T63" fmla="*/ 1621 h 2884"/>
              <a:gd name="T64" fmla="*/ 683 w 3040"/>
              <a:gd name="T65" fmla="*/ 1723 h 2884"/>
              <a:gd name="T66" fmla="*/ 757 w 3040"/>
              <a:gd name="T67" fmla="*/ 1858 h 2884"/>
              <a:gd name="T68" fmla="*/ 877 w 3040"/>
              <a:gd name="T69" fmla="*/ 2117 h 2884"/>
              <a:gd name="T70" fmla="*/ 973 w 3040"/>
              <a:gd name="T71" fmla="*/ 1963 h 2884"/>
              <a:gd name="T72" fmla="*/ 1129 w 3040"/>
              <a:gd name="T73" fmla="*/ 1731 h 2884"/>
              <a:gd name="T74" fmla="*/ 1299 w 3040"/>
              <a:gd name="T75" fmla="*/ 1503 h 2884"/>
              <a:gd name="T76" fmla="*/ 1485 w 3040"/>
              <a:gd name="T77" fmla="*/ 1277 h 2884"/>
              <a:gd name="T78" fmla="*/ 1685 w 3040"/>
              <a:gd name="T79" fmla="*/ 1052 h 2884"/>
              <a:gd name="T80" fmla="*/ 1828 w 3040"/>
              <a:gd name="T81" fmla="*/ 904 h 2884"/>
              <a:gd name="T82" fmla="*/ 2045 w 3040"/>
              <a:gd name="T83" fmla="*/ 693 h 2884"/>
              <a:gd name="T84" fmla="*/ 2260 w 3040"/>
              <a:gd name="T85" fmla="*/ 502 h 2884"/>
              <a:gd name="T86" fmla="*/ 2474 w 3040"/>
              <a:gd name="T87" fmla="*/ 328 h 2884"/>
              <a:gd name="T88" fmla="*/ 2685 w 3040"/>
              <a:gd name="T89" fmla="*/ 175 h 2884"/>
              <a:gd name="T90" fmla="*/ 2893 w 3040"/>
              <a:gd name="T91" fmla="*/ 40 h 28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40" h="2884">
                <a:moveTo>
                  <a:pt x="2963" y="0"/>
                </a:moveTo>
                <a:lnTo>
                  <a:pt x="3040" y="109"/>
                </a:lnTo>
                <a:lnTo>
                  <a:pt x="3040" y="109"/>
                </a:lnTo>
                <a:lnTo>
                  <a:pt x="2981" y="155"/>
                </a:lnTo>
                <a:lnTo>
                  <a:pt x="2922" y="203"/>
                </a:lnTo>
                <a:lnTo>
                  <a:pt x="2860" y="256"/>
                </a:lnTo>
                <a:lnTo>
                  <a:pt x="2799" y="309"/>
                </a:lnTo>
                <a:lnTo>
                  <a:pt x="2736" y="367"/>
                </a:lnTo>
                <a:lnTo>
                  <a:pt x="2673" y="428"/>
                </a:lnTo>
                <a:lnTo>
                  <a:pt x="2610" y="491"/>
                </a:lnTo>
                <a:lnTo>
                  <a:pt x="2545" y="557"/>
                </a:lnTo>
                <a:lnTo>
                  <a:pt x="2479" y="627"/>
                </a:lnTo>
                <a:lnTo>
                  <a:pt x="2413" y="699"/>
                </a:lnTo>
                <a:lnTo>
                  <a:pt x="2346" y="775"/>
                </a:lnTo>
                <a:lnTo>
                  <a:pt x="2277" y="853"/>
                </a:lnTo>
                <a:lnTo>
                  <a:pt x="2209" y="934"/>
                </a:lnTo>
                <a:lnTo>
                  <a:pt x="2139" y="1018"/>
                </a:lnTo>
                <a:lnTo>
                  <a:pt x="2067" y="1106"/>
                </a:lnTo>
                <a:lnTo>
                  <a:pt x="1996" y="1196"/>
                </a:lnTo>
                <a:lnTo>
                  <a:pt x="1996" y="1196"/>
                </a:lnTo>
                <a:lnTo>
                  <a:pt x="1926" y="1287"/>
                </a:lnTo>
                <a:lnTo>
                  <a:pt x="1858" y="1377"/>
                </a:lnTo>
                <a:lnTo>
                  <a:pt x="1790" y="1468"/>
                </a:lnTo>
                <a:lnTo>
                  <a:pt x="1727" y="1556"/>
                </a:lnTo>
                <a:lnTo>
                  <a:pt x="1664" y="1645"/>
                </a:lnTo>
                <a:lnTo>
                  <a:pt x="1605" y="1733"/>
                </a:lnTo>
                <a:lnTo>
                  <a:pt x="1546" y="1819"/>
                </a:lnTo>
                <a:lnTo>
                  <a:pt x="1490" y="1905"/>
                </a:lnTo>
                <a:lnTo>
                  <a:pt x="1437" y="1991"/>
                </a:lnTo>
                <a:lnTo>
                  <a:pt x="1385" y="2076"/>
                </a:lnTo>
                <a:lnTo>
                  <a:pt x="1336" y="2159"/>
                </a:lnTo>
                <a:lnTo>
                  <a:pt x="1289" y="2242"/>
                </a:lnTo>
                <a:lnTo>
                  <a:pt x="1243" y="2324"/>
                </a:lnTo>
                <a:lnTo>
                  <a:pt x="1200" y="2405"/>
                </a:lnTo>
                <a:lnTo>
                  <a:pt x="1160" y="2486"/>
                </a:lnTo>
                <a:lnTo>
                  <a:pt x="1120" y="2567"/>
                </a:lnTo>
                <a:lnTo>
                  <a:pt x="958" y="2676"/>
                </a:lnTo>
                <a:lnTo>
                  <a:pt x="958" y="2676"/>
                </a:lnTo>
                <a:lnTo>
                  <a:pt x="865" y="2741"/>
                </a:lnTo>
                <a:lnTo>
                  <a:pt x="788" y="2798"/>
                </a:lnTo>
                <a:lnTo>
                  <a:pt x="728" y="2845"/>
                </a:lnTo>
                <a:lnTo>
                  <a:pt x="704" y="2867"/>
                </a:lnTo>
                <a:lnTo>
                  <a:pt x="683" y="2884"/>
                </a:lnTo>
                <a:lnTo>
                  <a:pt x="683" y="2884"/>
                </a:lnTo>
                <a:lnTo>
                  <a:pt x="675" y="2856"/>
                </a:lnTo>
                <a:lnTo>
                  <a:pt x="666" y="2825"/>
                </a:lnTo>
                <a:lnTo>
                  <a:pt x="639" y="2748"/>
                </a:lnTo>
                <a:lnTo>
                  <a:pt x="603" y="2655"/>
                </a:lnTo>
                <a:lnTo>
                  <a:pt x="560" y="2546"/>
                </a:lnTo>
                <a:lnTo>
                  <a:pt x="498" y="2404"/>
                </a:lnTo>
                <a:lnTo>
                  <a:pt x="498" y="2404"/>
                </a:lnTo>
                <a:lnTo>
                  <a:pt x="465" y="2330"/>
                </a:lnTo>
                <a:lnTo>
                  <a:pt x="433" y="2261"/>
                </a:lnTo>
                <a:lnTo>
                  <a:pt x="401" y="2197"/>
                </a:lnTo>
                <a:lnTo>
                  <a:pt x="371" y="2137"/>
                </a:lnTo>
                <a:lnTo>
                  <a:pt x="340" y="2084"/>
                </a:lnTo>
                <a:lnTo>
                  <a:pt x="311" y="2034"/>
                </a:lnTo>
                <a:lnTo>
                  <a:pt x="281" y="1991"/>
                </a:lnTo>
                <a:lnTo>
                  <a:pt x="253" y="1950"/>
                </a:lnTo>
                <a:lnTo>
                  <a:pt x="253" y="1950"/>
                </a:lnTo>
                <a:lnTo>
                  <a:pt x="225" y="1915"/>
                </a:lnTo>
                <a:lnTo>
                  <a:pt x="195" y="1885"/>
                </a:lnTo>
                <a:lnTo>
                  <a:pt x="164" y="1855"/>
                </a:lnTo>
                <a:lnTo>
                  <a:pt x="133" y="1829"/>
                </a:lnTo>
                <a:lnTo>
                  <a:pt x="101" y="1807"/>
                </a:lnTo>
                <a:lnTo>
                  <a:pt x="69" y="1786"/>
                </a:lnTo>
                <a:lnTo>
                  <a:pt x="35" y="1770"/>
                </a:lnTo>
                <a:lnTo>
                  <a:pt x="0" y="1757"/>
                </a:lnTo>
                <a:lnTo>
                  <a:pt x="0" y="1757"/>
                </a:lnTo>
                <a:lnTo>
                  <a:pt x="30" y="1726"/>
                </a:lnTo>
                <a:lnTo>
                  <a:pt x="59" y="1698"/>
                </a:lnTo>
                <a:lnTo>
                  <a:pt x="87" y="1672"/>
                </a:lnTo>
                <a:lnTo>
                  <a:pt x="116" y="1646"/>
                </a:lnTo>
                <a:lnTo>
                  <a:pt x="144" y="1625"/>
                </a:lnTo>
                <a:lnTo>
                  <a:pt x="172" y="1605"/>
                </a:lnTo>
                <a:lnTo>
                  <a:pt x="199" y="1586"/>
                </a:lnTo>
                <a:lnTo>
                  <a:pt x="227" y="1568"/>
                </a:lnTo>
                <a:lnTo>
                  <a:pt x="254" y="1555"/>
                </a:lnTo>
                <a:lnTo>
                  <a:pt x="281" y="1542"/>
                </a:lnTo>
                <a:lnTo>
                  <a:pt x="307" y="1531"/>
                </a:lnTo>
                <a:lnTo>
                  <a:pt x="332" y="1523"/>
                </a:lnTo>
                <a:lnTo>
                  <a:pt x="359" y="1516"/>
                </a:lnTo>
                <a:lnTo>
                  <a:pt x="385" y="1511"/>
                </a:lnTo>
                <a:lnTo>
                  <a:pt x="409" y="1508"/>
                </a:lnTo>
                <a:lnTo>
                  <a:pt x="434" y="1507"/>
                </a:lnTo>
                <a:lnTo>
                  <a:pt x="434" y="1507"/>
                </a:lnTo>
                <a:lnTo>
                  <a:pt x="444" y="1507"/>
                </a:lnTo>
                <a:lnTo>
                  <a:pt x="455" y="1508"/>
                </a:lnTo>
                <a:lnTo>
                  <a:pt x="465" y="1511"/>
                </a:lnTo>
                <a:lnTo>
                  <a:pt x="476" y="1513"/>
                </a:lnTo>
                <a:lnTo>
                  <a:pt x="499" y="1523"/>
                </a:lnTo>
                <a:lnTo>
                  <a:pt x="521" y="1535"/>
                </a:lnTo>
                <a:lnTo>
                  <a:pt x="543" y="1551"/>
                </a:lnTo>
                <a:lnTo>
                  <a:pt x="566" y="1571"/>
                </a:lnTo>
                <a:lnTo>
                  <a:pt x="589" y="1594"/>
                </a:lnTo>
                <a:lnTo>
                  <a:pt x="612" y="1621"/>
                </a:lnTo>
                <a:lnTo>
                  <a:pt x="636" y="1652"/>
                </a:lnTo>
                <a:lnTo>
                  <a:pt x="659" y="1685"/>
                </a:lnTo>
                <a:lnTo>
                  <a:pt x="683" y="1723"/>
                </a:lnTo>
                <a:lnTo>
                  <a:pt x="708" y="1763"/>
                </a:lnTo>
                <a:lnTo>
                  <a:pt x="733" y="1809"/>
                </a:lnTo>
                <a:lnTo>
                  <a:pt x="757" y="1858"/>
                </a:lnTo>
                <a:lnTo>
                  <a:pt x="783" y="1909"/>
                </a:lnTo>
                <a:lnTo>
                  <a:pt x="808" y="1964"/>
                </a:lnTo>
                <a:lnTo>
                  <a:pt x="877" y="2117"/>
                </a:lnTo>
                <a:lnTo>
                  <a:pt x="877" y="2117"/>
                </a:lnTo>
                <a:lnTo>
                  <a:pt x="924" y="2039"/>
                </a:lnTo>
                <a:lnTo>
                  <a:pt x="973" y="1963"/>
                </a:lnTo>
                <a:lnTo>
                  <a:pt x="1024" y="1885"/>
                </a:lnTo>
                <a:lnTo>
                  <a:pt x="1075" y="1808"/>
                </a:lnTo>
                <a:lnTo>
                  <a:pt x="1129" y="1731"/>
                </a:lnTo>
                <a:lnTo>
                  <a:pt x="1184" y="1655"/>
                </a:lnTo>
                <a:lnTo>
                  <a:pt x="1242" y="1578"/>
                </a:lnTo>
                <a:lnTo>
                  <a:pt x="1299" y="1503"/>
                </a:lnTo>
                <a:lnTo>
                  <a:pt x="1360" y="1427"/>
                </a:lnTo>
                <a:lnTo>
                  <a:pt x="1422" y="1351"/>
                </a:lnTo>
                <a:lnTo>
                  <a:pt x="1485" y="1277"/>
                </a:lnTo>
                <a:lnTo>
                  <a:pt x="1551" y="1201"/>
                </a:lnTo>
                <a:lnTo>
                  <a:pt x="1618" y="1127"/>
                </a:lnTo>
                <a:lnTo>
                  <a:pt x="1685" y="1052"/>
                </a:lnTo>
                <a:lnTo>
                  <a:pt x="1757" y="978"/>
                </a:lnTo>
                <a:lnTo>
                  <a:pt x="1828" y="904"/>
                </a:lnTo>
                <a:lnTo>
                  <a:pt x="1828" y="904"/>
                </a:lnTo>
                <a:lnTo>
                  <a:pt x="1901" y="831"/>
                </a:lnTo>
                <a:lnTo>
                  <a:pt x="1973" y="761"/>
                </a:lnTo>
                <a:lnTo>
                  <a:pt x="2045" y="693"/>
                </a:lnTo>
                <a:lnTo>
                  <a:pt x="2117" y="627"/>
                </a:lnTo>
                <a:lnTo>
                  <a:pt x="2189" y="564"/>
                </a:lnTo>
                <a:lnTo>
                  <a:pt x="2260" y="502"/>
                </a:lnTo>
                <a:lnTo>
                  <a:pt x="2331" y="441"/>
                </a:lnTo>
                <a:lnTo>
                  <a:pt x="2402" y="383"/>
                </a:lnTo>
                <a:lnTo>
                  <a:pt x="2474" y="328"/>
                </a:lnTo>
                <a:lnTo>
                  <a:pt x="2544" y="274"/>
                </a:lnTo>
                <a:lnTo>
                  <a:pt x="2614" y="223"/>
                </a:lnTo>
                <a:lnTo>
                  <a:pt x="2685" y="175"/>
                </a:lnTo>
                <a:lnTo>
                  <a:pt x="2755" y="128"/>
                </a:lnTo>
                <a:lnTo>
                  <a:pt x="2825" y="83"/>
                </a:lnTo>
                <a:lnTo>
                  <a:pt x="2893" y="40"/>
                </a:lnTo>
                <a:lnTo>
                  <a:pt x="2963" y="0"/>
                </a:lnTo>
                <a:lnTo>
                  <a:pt x="2963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none" lIns="91439" tIns="45720" rIns="91439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de-DE" sz="11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994A6026-12EE-416A-B2A2-9282B077C95E}"/>
              </a:ext>
            </a:extLst>
          </p:cNvPr>
          <p:cNvCxnSpPr>
            <a:cxnSpLocks/>
          </p:cNvCxnSpPr>
          <p:nvPr/>
        </p:nvCxnSpPr>
        <p:spPr bwMode="gray">
          <a:xfrm>
            <a:off x="487362" y="3911215"/>
            <a:ext cx="8328552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7DBD2A2D-1A69-4B31-815C-625BE42260C7}"/>
              </a:ext>
            </a:extLst>
          </p:cNvPr>
          <p:cNvCxnSpPr>
            <a:cxnSpLocks/>
          </p:cNvCxnSpPr>
          <p:nvPr/>
        </p:nvCxnSpPr>
        <p:spPr bwMode="gray">
          <a:xfrm>
            <a:off x="487362" y="4628942"/>
            <a:ext cx="832855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Freeform 156">
            <a:extLst>
              <a:ext uri="{FF2B5EF4-FFF2-40B4-BE49-F238E27FC236}">
                <a16:creationId xmlns:a16="http://schemas.microsoft.com/office/drawing/2014/main" id="{507A427F-F429-4B78-AABE-D25B5D17EEF9}"/>
              </a:ext>
            </a:extLst>
          </p:cNvPr>
          <p:cNvSpPr>
            <a:spLocks noEditPoints="1"/>
          </p:cNvSpPr>
          <p:nvPr/>
        </p:nvSpPr>
        <p:spPr bwMode="gray">
          <a:xfrm>
            <a:off x="8454379" y="1739347"/>
            <a:ext cx="238772" cy="246084"/>
          </a:xfrm>
          <a:custGeom>
            <a:avLst/>
            <a:gdLst>
              <a:gd name="T0" fmla="*/ 289 w 355"/>
              <a:gd name="T1" fmla="*/ 170 h 366"/>
              <a:gd name="T2" fmla="*/ 350 w 355"/>
              <a:gd name="T3" fmla="*/ 152 h 366"/>
              <a:gd name="T4" fmla="*/ 24 w 355"/>
              <a:gd name="T5" fmla="*/ 258 h 366"/>
              <a:gd name="T6" fmla="*/ 97 w 355"/>
              <a:gd name="T7" fmla="*/ 259 h 366"/>
              <a:gd name="T8" fmla="*/ 24 w 355"/>
              <a:gd name="T9" fmla="*/ 258 h 366"/>
              <a:gd name="T10" fmla="*/ 100 w 355"/>
              <a:gd name="T11" fmla="*/ 263 h 366"/>
              <a:gd name="T12" fmla="*/ 80 w 355"/>
              <a:gd name="T13" fmla="*/ 331 h 366"/>
              <a:gd name="T14" fmla="*/ 89 w 355"/>
              <a:gd name="T15" fmla="*/ 338 h 366"/>
              <a:gd name="T16" fmla="*/ 145 w 355"/>
              <a:gd name="T17" fmla="*/ 295 h 366"/>
              <a:gd name="T18" fmla="*/ 89 w 355"/>
              <a:gd name="T19" fmla="*/ 338 h 366"/>
              <a:gd name="T20" fmla="*/ 137 w 355"/>
              <a:gd name="T21" fmla="*/ 359 h 366"/>
              <a:gd name="T22" fmla="*/ 174 w 355"/>
              <a:gd name="T23" fmla="*/ 302 h 366"/>
              <a:gd name="T24" fmla="*/ 101 w 355"/>
              <a:gd name="T25" fmla="*/ 124 h 366"/>
              <a:gd name="T26" fmla="*/ 23 w 355"/>
              <a:gd name="T27" fmla="*/ 256 h 366"/>
              <a:gd name="T28" fmla="*/ 210 w 355"/>
              <a:gd name="T29" fmla="*/ 24 h 366"/>
              <a:gd name="T30" fmla="*/ 289 w 355"/>
              <a:gd name="T31" fmla="*/ 70 h 366"/>
              <a:gd name="T32" fmla="*/ 200 w 355"/>
              <a:gd name="T33" fmla="*/ 87 h 366"/>
              <a:gd name="T34" fmla="*/ 188 w 355"/>
              <a:gd name="T35" fmla="*/ 366 h 366"/>
              <a:gd name="T36" fmla="*/ 204 w 355"/>
              <a:gd name="T37" fmla="*/ 300 h 366"/>
              <a:gd name="T38" fmla="*/ 188 w 355"/>
              <a:gd name="T39" fmla="*/ 366 h 366"/>
              <a:gd name="T40" fmla="*/ 219 w 355"/>
              <a:gd name="T41" fmla="*/ 296 h 366"/>
              <a:gd name="T42" fmla="*/ 261 w 355"/>
              <a:gd name="T43" fmla="*/ 347 h 366"/>
              <a:gd name="T44" fmla="*/ 286 w 355"/>
              <a:gd name="T45" fmla="*/ 332 h 366"/>
              <a:gd name="T46" fmla="*/ 257 w 355"/>
              <a:gd name="T47" fmla="*/ 273 h 366"/>
              <a:gd name="T48" fmla="*/ 286 w 355"/>
              <a:gd name="T49" fmla="*/ 332 h 366"/>
              <a:gd name="T50" fmla="*/ 271 w 355"/>
              <a:gd name="T51" fmla="*/ 258 h 366"/>
              <a:gd name="T52" fmla="*/ 330 w 355"/>
              <a:gd name="T53" fmla="*/ 283 h 366"/>
              <a:gd name="T54" fmla="*/ 346 w 355"/>
              <a:gd name="T55" fmla="*/ 250 h 366"/>
              <a:gd name="T56" fmla="*/ 288 w 355"/>
              <a:gd name="T57" fmla="*/ 221 h 366"/>
              <a:gd name="T58" fmla="*/ 346 w 355"/>
              <a:gd name="T59" fmla="*/ 250 h 366"/>
              <a:gd name="T60" fmla="*/ 291 w 355"/>
              <a:gd name="T61" fmla="*/ 198 h 366"/>
              <a:gd name="T62" fmla="*/ 355 w 355"/>
              <a:gd name="T63" fmla="*/ 19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5" h="366">
                <a:moveTo>
                  <a:pt x="351" y="156"/>
                </a:moveTo>
                <a:cubicBezTo>
                  <a:pt x="289" y="170"/>
                  <a:pt x="289" y="170"/>
                  <a:pt x="289" y="170"/>
                </a:cubicBezTo>
                <a:cubicBezTo>
                  <a:pt x="288" y="167"/>
                  <a:pt x="288" y="167"/>
                  <a:pt x="288" y="167"/>
                </a:cubicBezTo>
                <a:cubicBezTo>
                  <a:pt x="350" y="152"/>
                  <a:pt x="350" y="152"/>
                  <a:pt x="350" y="152"/>
                </a:cubicBezTo>
                <a:lnTo>
                  <a:pt x="351" y="156"/>
                </a:lnTo>
                <a:close/>
                <a:moveTo>
                  <a:pt x="24" y="258"/>
                </a:moveTo>
                <a:cubicBezTo>
                  <a:pt x="83" y="234"/>
                  <a:pt x="83" y="234"/>
                  <a:pt x="83" y="234"/>
                </a:cubicBezTo>
                <a:cubicBezTo>
                  <a:pt x="87" y="243"/>
                  <a:pt x="91" y="252"/>
                  <a:pt x="97" y="259"/>
                </a:cubicBezTo>
                <a:cubicBezTo>
                  <a:pt x="46" y="297"/>
                  <a:pt x="46" y="297"/>
                  <a:pt x="46" y="297"/>
                </a:cubicBezTo>
                <a:cubicBezTo>
                  <a:pt x="37" y="286"/>
                  <a:pt x="30" y="272"/>
                  <a:pt x="24" y="258"/>
                </a:cubicBezTo>
                <a:close/>
                <a:moveTo>
                  <a:pt x="50" y="303"/>
                </a:moveTo>
                <a:cubicBezTo>
                  <a:pt x="100" y="263"/>
                  <a:pt x="100" y="263"/>
                  <a:pt x="100" y="263"/>
                </a:cubicBezTo>
                <a:cubicBezTo>
                  <a:pt x="105" y="269"/>
                  <a:pt x="111" y="275"/>
                  <a:pt x="118" y="280"/>
                </a:cubicBezTo>
                <a:cubicBezTo>
                  <a:pt x="80" y="331"/>
                  <a:pt x="80" y="331"/>
                  <a:pt x="80" y="331"/>
                </a:cubicBezTo>
                <a:cubicBezTo>
                  <a:pt x="69" y="323"/>
                  <a:pt x="59" y="313"/>
                  <a:pt x="50" y="303"/>
                </a:cubicBezTo>
                <a:close/>
                <a:moveTo>
                  <a:pt x="89" y="338"/>
                </a:moveTo>
                <a:cubicBezTo>
                  <a:pt x="124" y="284"/>
                  <a:pt x="124" y="284"/>
                  <a:pt x="124" y="284"/>
                </a:cubicBezTo>
                <a:cubicBezTo>
                  <a:pt x="131" y="289"/>
                  <a:pt x="137" y="292"/>
                  <a:pt x="145" y="295"/>
                </a:cubicBezTo>
                <a:cubicBezTo>
                  <a:pt x="122" y="354"/>
                  <a:pt x="122" y="354"/>
                  <a:pt x="122" y="354"/>
                </a:cubicBezTo>
                <a:cubicBezTo>
                  <a:pt x="110" y="350"/>
                  <a:pt x="99" y="344"/>
                  <a:pt x="89" y="338"/>
                </a:cubicBezTo>
                <a:close/>
                <a:moveTo>
                  <a:pt x="168" y="365"/>
                </a:moveTo>
                <a:cubicBezTo>
                  <a:pt x="157" y="364"/>
                  <a:pt x="147" y="362"/>
                  <a:pt x="137" y="359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60" y="300"/>
                  <a:pt x="167" y="301"/>
                  <a:pt x="174" y="302"/>
                </a:cubicBezTo>
                <a:lnTo>
                  <a:pt x="168" y="365"/>
                </a:lnTo>
                <a:close/>
                <a:moveTo>
                  <a:pt x="101" y="124"/>
                </a:moveTo>
                <a:cubicBezTo>
                  <a:pt x="76" y="153"/>
                  <a:pt x="68" y="197"/>
                  <a:pt x="82" y="233"/>
                </a:cubicBezTo>
                <a:cubicBezTo>
                  <a:pt x="23" y="256"/>
                  <a:pt x="23" y="256"/>
                  <a:pt x="23" y="256"/>
                </a:cubicBezTo>
                <a:cubicBezTo>
                  <a:pt x="0" y="198"/>
                  <a:pt x="12" y="129"/>
                  <a:pt x="52" y="82"/>
                </a:cubicBezTo>
                <a:cubicBezTo>
                  <a:pt x="90" y="37"/>
                  <a:pt x="152" y="15"/>
                  <a:pt x="210" y="24"/>
                </a:cubicBezTo>
                <a:cubicBezTo>
                  <a:pt x="214" y="0"/>
                  <a:pt x="214" y="0"/>
                  <a:pt x="214" y="0"/>
                </a:cubicBezTo>
                <a:cubicBezTo>
                  <a:pt x="289" y="70"/>
                  <a:pt x="289" y="70"/>
                  <a:pt x="289" y="70"/>
                </a:cubicBezTo>
                <a:cubicBezTo>
                  <a:pt x="195" y="112"/>
                  <a:pt x="195" y="112"/>
                  <a:pt x="195" y="112"/>
                </a:cubicBezTo>
                <a:cubicBezTo>
                  <a:pt x="200" y="87"/>
                  <a:pt x="200" y="87"/>
                  <a:pt x="200" y="87"/>
                </a:cubicBezTo>
                <a:cubicBezTo>
                  <a:pt x="163" y="81"/>
                  <a:pt x="125" y="95"/>
                  <a:pt x="101" y="124"/>
                </a:cubicBezTo>
                <a:close/>
                <a:moveTo>
                  <a:pt x="188" y="366"/>
                </a:moveTo>
                <a:cubicBezTo>
                  <a:pt x="187" y="302"/>
                  <a:pt x="187" y="302"/>
                  <a:pt x="187" y="302"/>
                </a:cubicBezTo>
                <a:cubicBezTo>
                  <a:pt x="192" y="302"/>
                  <a:pt x="198" y="301"/>
                  <a:pt x="204" y="300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07" y="364"/>
                  <a:pt x="198" y="366"/>
                  <a:pt x="188" y="366"/>
                </a:cubicBezTo>
                <a:close/>
                <a:moveTo>
                  <a:pt x="240" y="356"/>
                </a:moveTo>
                <a:cubicBezTo>
                  <a:pt x="219" y="296"/>
                  <a:pt x="219" y="296"/>
                  <a:pt x="219" y="296"/>
                </a:cubicBezTo>
                <a:cubicBezTo>
                  <a:pt x="223" y="295"/>
                  <a:pt x="228" y="293"/>
                  <a:pt x="232" y="290"/>
                </a:cubicBezTo>
                <a:cubicBezTo>
                  <a:pt x="261" y="347"/>
                  <a:pt x="261" y="347"/>
                  <a:pt x="261" y="347"/>
                </a:cubicBezTo>
                <a:cubicBezTo>
                  <a:pt x="254" y="351"/>
                  <a:pt x="247" y="354"/>
                  <a:pt x="240" y="356"/>
                </a:cubicBezTo>
                <a:close/>
                <a:moveTo>
                  <a:pt x="286" y="332"/>
                </a:moveTo>
                <a:cubicBezTo>
                  <a:pt x="248" y="281"/>
                  <a:pt x="248" y="281"/>
                  <a:pt x="248" y="281"/>
                </a:cubicBezTo>
                <a:cubicBezTo>
                  <a:pt x="251" y="279"/>
                  <a:pt x="254" y="276"/>
                  <a:pt x="257" y="273"/>
                </a:cubicBezTo>
                <a:cubicBezTo>
                  <a:pt x="300" y="320"/>
                  <a:pt x="300" y="320"/>
                  <a:pt x="300" y="320"/>
                </a:cubicBezTo>
                <a:cubicBezTo>
                  <a:pt x="295" y="324"/>
                  <a:pt x="291" y="329"/>
                  <a:pt x="286" y="332"/>
                </a:cubicBezTo>
                <a:close/>
                <a:moveTo>
                  <a:pt x="322" y="295"/>
                </a:moveTo>
                <a:cubicBezTo>
                  <a:pt x="271" y="258"/>
                  <a:pt x="271" y="258"/>
                  <a:pt x="271" y="258"/>
                </a:cubicBezTo>
                <a:cubicBezTo>
                  <a:pt x="273" y="255"/>
                  <a:pt x="274" y="253"/>
                  <a:pt x="276" y="250"/>
                </a:cubicBezTo>
                <a:cubicBezTo>
                  <a:pt x="330" y="283"/>
                  <a:pt x="330" y="283"/>
                  <a:pt x="330" y="283"/>
                </a:cubicBezTo>
                <a:cubicBezTo>
                  <a:pt x="328" y="287"/>
                  <a:pt x="325" y="292"/>
                  <a:pt x="322" y="295"/>
                </a:cubicBezTo>
                <a:close/>
                <a:moveTo>
                  <a:pt x="346" y="250"/>
                </a:moveTo>
                <a:cubicBezTo>
                  <a:pt x="326" y="243"/>
                  <a:pt x="306" y="237"/>
                  <a:pt x="285" y="230"/>
                </a:cubicBezTo>
                <a:cubicBezTo>
                  <a:pt x="287" y="227"/>
                  <a:pt x="287" y="224"/>
                  <a:pt x="288" y="221"/>
                </a:cubicBezTo>
                <a:cubicBezTo>
                  <a:pt x="349" y="239"/>
                  <a:pt x="349" y="239"/>
                  <a:pt x="349" y="239"/>
                </a:cubicBezTo>
                <a:cubicBezTo>
                  <a:pt x="348" y="243"/>
                  <a:pt x="348" y="246"/>
                  <a:pt x="346" y="250"/>
                </a:cubicBezTo>
                <a:close/>
                <a:moveTo>
                  <a:pt x="355" y="199"/>
                </a:moveTo>
                <a:cubicBezTo>
                  <a:pt x="334" y="199"/>
                  <a:pt x="313" y="198"/>
                  <a:pt x="291" y="198"/>
                </a:cubicBezTo>
                <a:cubicBezTo>
                  <a:pt x="292" y="193"/>
                  <a:pt x="292" y="193"/>
                  <a:pt x="292" y="193"/>
                </a:cubicBezTo>
                <a:cubicBezTo>
                  <a:pt x="313" y="193"/>
                  <a:pt x="334" y="192"/>
                  <a:pt x="355" y="193"/>
                </a:cubicBezTo>
                <a:lnTo>
                  <a:pt x="355" y="19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3" name="Freeform 156">
            <a:extLst>
              <a:ext uri="{FF2B5EF4-FFF2-40B4-BE49-F238E27FC236}">
                <a16:creationId xmlns:a16="http://schemas.microsoft.com/office/drawing/2014/main" id="{B01F67B1-A829-4B9D-A6A6-274E93CF3670}"/>
              </a:ext>
            </a:extLst>
          </p:cNvPr>
          <p:cNvSpPr>
            <a:spLocks noEditPoints="1"/>
          </p:cNvSpPr>
          <p:nvPr/>
        </p:nvSpPr>
        <p:spPr bwMode="gray">
          <a:xfrm>
            <a:off x="8454379" y="3464322"/>
            <a:ext cx="238772" cy="246084"/>
          </a:xfrm>
          <a:custGeom>
            <a:avLst/>
            <a:gdLst>
              <a:gd name="T0" fmla="*/ 289 w 355"/>
              <a:gd name="T1" fmla="*/ 170 h 366"/>
              <a:gd name="T2" fmla="*/ 350 w 355"/>
              <a:gd name="T3" fmla="*/ 152 h 366"/>
              <a:gd name="T4" fmla="*/ 24 w 355"/>
              <a:gd name="T5" fmla="*/ 258 h 366"/>
              <a:gd name="T6" fmla="*/ 97 w 355"/>
              <a:gd name="T7" fmla="*/ 259 h 366"/>
              <a:gd name="T8" fmla="*/ 24 w 355"/>
              <a:gd name="T9" fmla="*/ 258 h 366"/>
              <a:gd name="T10" fmla="*/ 100 w 355"/>
              <a:gd name="T11" fmla="*/ 263 h 366"/>
              <a:gd name="T12" fmla="*/ 80 w 355"/>
              <a:gd name="T13" fmla="*/ 331 h 366"/>
              <a:gd name="T14" fmla="*/ 89 w 355"/>
              <a:gd name="T15" fmla="*/ 338 h 366"/>
              <a:gd name="T16" fmla="*/ 145 w 355"/>
              <a:gd name="T17" fmla="*/ 295 h 366"/>
              <a:gd name="T18" fmla="*/ 89 w 355"/>
              <a:gd name="T19" fmla="*/ 338 h 366"/>
              <a:gd name="T20" fmla="*/ 137 w 355"/>
              <a:gd name="T21" fmla="*/ 359 h 366"/>
              <a:gd name="T22" fmla="*/ 174 w 355"/>
              <a:gd name="T23" fmla="*/ 302 h 366"/>
              <a:gd name="T24" fmla="*/ 101 w 355"/>
              <a:gd name="T25" fmla="*/ 124 h 366"/>
              <a:gd name="T26" fmla="*/ 23 w 355"/>
              <a:gd name="T27" fmla="*/ 256 h 366"/>
              <a:gd name="T28" fmla="*/ 210 w 355"/>
              <a:gd name="T29" fmla="*/ 24 h 366"/>
              <a:gd name="T30" fmla="*/ 289 w 355"/>
              <a:gd name="T31" fmla="*/ 70 h 366"/>
              <a:gd name="T32" fmla="*/ 200 w 355"/>
              <a:gd name="T33" fmla="*/ 87 h 366"/>
              <a:gd name="T34" fmla="*/ 188 w 355"/>
              <a:gd name="T35" fmla="*/ 366 h 366"/>
              <a:gd name="T36" fmla="*/ 204 w 355"/>
              <a:gd name="T37" fmla="*/ 300 h 366"/>
              <a:gd name="T38" fmla="*/ 188 w 355"/>
              <a:gd name="T39" fmla="*/ 366 h 366"/>
              <a:gd name="T40" fmla="*/ 219 w 355"/>
              <a:gd name="T41" fmla="*/ 296 h 366"/>
              <a:gd name="T42" fmla="*/ 261 w 355"/>
              <a:gd name="T43" fmla="*/ 347 h 366"/>
              <a:gd name="T44" fmla="*/ 286 w 355"/>
              <a:gd name="T45" fmla="*/ 332 h 366"/>
              <a:gd name="T46" fmla="*/ 257 w 355"/>
              <a:gd name="T47" fmla="*/ 273 h 366"/>
              <a:gd name="T48" fmla="*/ 286 w 355"/>
              <a:gd name="T49" fmla="*/ 332 h 366"/>
              <a:gd name="T50" fmla="*/ 271 w 355"/>
              <a:gd name="T51" fmla="*/ 258 h 366"/>
              <a:gd name="T52" fmla="*/ 330 w 355"/>
              <a:gd name="T53" fmla="*/ 283 h 366"/>
              <a:gd name="T54" fmla="*/ 346 w 355"/>
              <a:gd name="T55" fmla="*/ 250 h 366"/>
              <a:gd name="T56" fmla="*/ 288 w 355"/>
              <a:gd name="T57" fmla="*/ 221 h 366"/>
              <a:gd name="T58" fmla="*/ 346 w 355"/>
              <a:gd name="T59" fmla="*/ 250 h 366"/>
              <a:gd name="T60" fmla="*/ 291 w 355"/>
              <a:gd name="T61" fmla="*/ 198 h 366"/>
              <a:gd name="T62" fmla="*/ 355 w 355"/>
              <a:gd name="T63" fmla="*/ 193 h 3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5" h="366">
                <a:moveTo>
                  <a:pt x="351" y="156"/>
                </a:moveTo>
                <a:cubicBezTo>
                  <a:pt x="289" y="170"/>
                  <a:pt x="289" y="170"/>
                  <a:pt x="289" y="170"/>
                </a:cubicBezTo>
                <a:cubicBezTo>
                  <a:pt x="288" y="167"/>
                  <a:pt x="288" y="167"/>
                  <a:pt x="288" y="167"/>
                </a:cubicBezTo>
                <a:cubicBezTo>
                  <a:pt x="350" y="152"/>
                  <a:pt x="350" y="152"/>
                  <a:pt x="350" y="152"/>
                </a:cubicBezTo>
                <a:lnTo>
                  <a:pt x="351" y="156"/>
                </a:lnTo>
                <a:close/>
                <a:moveTo>
                  <a:pt x="24" y="258"/>
                </a:moveTo>
                <a:cubicBezTo>
                  <a:pt x="83" y="234"/>
                  <a:pt x="83" y="234"/>
                  <a:pt x="83" y="234"/>
                </a:cubicBezTo>
                <a:cubicBezTo>
                  <a:pt x="87" y="243"/>
                  <a:pt x="91" y="252"/>
                  <a:pt x="97" y="259"/>
                </a:cubicBezTo>
                <a:cubicBezTo>
                  <a:pt x="46" y="297"/>
                  <a:pt x="46" y="297"/>
                  <a:pt x="46" y="297"/>
                </a:cubicBezTo>
                <a:cubicBezTo>
                  <a:pt x="37" y="286"/>
                  <a:pt x="30" y="272"/>
                  <a:pt x="24" y="258"/>
                </a:cubicBezTo>
                <a:close/>
                <a:moveTo>
                  <a:pt x="50" y="303"/>
                </a:moveTo>
                <a:cubicBezTo>
                  <a:pt x="100" y="263"/>
                  <a:pt x="100" y="263"/>
                  <a:pt x="100" y="263"/>
                </a:cubicBezTo>
                <a:cubicBezTo>
                  <a:pt x="105" y="269"/>
                  <a:pt x="111" y="275"/>
                  <a:pt x="118" y="280"/>
                </a:cubicBezTo>
                <a:cubicBezTo>
                  <a:pt x="80" y="331"/>
                  <a:pt x="80" y="331"/>
                  <a:pt x="80" y="331"/>
                </a:cubicBezTo>
                <a:cubicBezTo>
                  <a:pt x="69" y="323"/>
                  <a:pt x="59" y="313"/>
                  <a:pt x="50" y="303"/>
                </a:cubicBezTo>
                <a:close/>
                <a:moveTo>
                  <a:pt x="89" y="338"/>
                </a:moveTo>
                <a:cubicBezTo>
                  <a:pt x="124" y="284"/>
                  <a:pt x="124" y="284"/>
                  <a:pt x="124" y="284"/>
                </a:cubicBezTo>
                <a:cubicBezTo>
                  <a:pt x="131" y="289"/>
                  <a:pt x="137" y="292"/>
                  <a:pt x="145" y="295"/>
                </a:cubicBezTo>
                <a:cubicBezTo>
                  <a:pt x="122" y="354"/>
                  <a:pt x="122" y="354"/>
                  <a:pt x="122" y="354"/>
                </a:cubicBezTo>
                <a:cubicBezTo>
                  <a:pt x="110" y="350"/>
                  <a:pt x="99" y="344"/>
                  <a:pt x="89" y="338"/>
                </a:cubicBezTo>
                <a:close/>
                <a:moveTo>
                  <a:pt x="168" y="365"/>
                </a:moveTo>
                <a:cubicBezTo>
                  <a:pt x="157" y="364"/>
                  <a:pt x="147" y="362"/>
                  <a:pt x="137" y="359"/>
                </a:cubicBezTo>
                <a:cubicBezTo>
                  <a:pt x="154" y="298"/>
                  <a:pt x="154" y="298"/>
                  <a:pt x="154" y="298"/>
                </a:cubicBezTo>
                <a:cubicBezTo>
                  <a:pt x="160" y="300"/>
                  <a:pt x="167" y="301"/>
                  <a:pt x="174" y="302"/>
                </a:cubicBezTo>
                <a:lnTo>
                  <a:pt x="168" y="365"/>
                </a:lnTo>
                <a:close/>
                <a:moveTo>
                  <a:pt x="101" y="124"/>
                </a:moveTo>
                <a:cubicBezTo>
                  <a:pt x="76" y="153"/>
                  <a:pt x="68" y="197"/>
                  <a:pt x="82" y="233"/>
                </a:cubicBezTo>
                <a:cubicBezTo>
                  <a:pt x="23" y="256"/>
                  <a:pt x="23" y="256"/>
                  <a:pt x="23" y="256"/>
                </a:cubicBezTo>
                <a:cubicBezTo>
                  <a:pt x="0" y="198"/>
                  <a:pt x="12" y="129"/>
                  <a:pt x="52" y="82"/>
                </a:cubicBezTo>
                <a:cubicBezTo>
                  <a:pt x="90" y="37"/>
                  <a:pt x="152" y="15"/>
                  <a:pt x="210" y="24"/>
                </a:cubicBezTo>
                <a:cubicBezTo>
                  <a:pt x="214" y="0"/>
                  <a:pt x="214" y="0"/>
                  <a:pt x="214" y="0"/>
                </a:cubicBezTo>
                <a:cubicBezTo>
                  <a:pt x="289" y="70"/>
                  <a:pt x="289" y="70"/>
                  <a:pt x="289" y="70"/>
                </a:cubicBezTo>
                <a:cubicBezTo>
                  <a:pt x="195" y="112"/>
                  <a:pt x="195" y="112"/>
                  <a:pt x="195" y="112"/>
                </a:cubicBezTo>
                <a:cubicBezTo>
                  <a:pt x="200" y="87"/>
                  <a:pt x="200" y="87"/>
                  <a:pt x="200" y="87"/>
                </a:cubicBezTo>
                <a:cubicBezTo>
                  <a:pt x="163" y="81"/>
                  <a:pt x="125" y="95"/>
                  <a:pt x="101" y="124"/>
                </a:cubicBezTo>
                <a:close/>
                <a:moveTo>
                  <a:pt x="188" y="366"/>
                </a:moveTo>
                <a:cubicBezTo>
                  <a:pt x="187" y="302"/>
                  <a:pt x="187" y="302"/>
                  <a:pt x="187" y="302"/>
                </a:cubicBezTo>
                <a:cubicBezTo>
                  <a:pt x="192" y="302"/>
                  <a:pt x="198" y="301"/>
                  <a:pt x="204" y="300"/>
                </a:cubicBezTo>
                <a:cubicBezTo>
                  <a:pt x="216" y="363"/>
                  <a:pt x="216" y="363"/>
                  <a:pt x="216" y="363"/>
                </a:cubicBezTo>
                <a:cubicBezTo>
                  <a:pt x="207" y="364"/>
                  <a:pt x="198" y="366"/>
                  <a:pt x="188" y="366"/>
                </a:cubicBezTo>
                <a:close/>
                <a:moveTo>
                  <a:pt x="240" y="356"/>
                </a:moveTo>
                <a:cubicBezTo>
                  <a:pt x="219" y="296"/>
                  <a:pt x="219" y="296"/>
                  <a:pt x="219" y="296"/>
                </a:cubicBezTo>
                <a:cubicBezTo>
                  <a:pt x="223" y="295"/>
                  <a:pt x="228" y="293"/>
                  <a:pt x="232" y="290"/>
                </a:cubicBezTo>
                <a:cubicBezTo>
                  <a:pt x="261" y="347"/>
                  <a:pt x="261" y="347"/>
                  <a:pt x="261" y="347"/>
                </a:cubicBezTo>
                <a:cubicBezTo>
                  <a:pt x="254" y="351"/>
                  <a:pt x="247" y="354"/>
                  <a:pt x="240" y="356"/>
                </a:cubicBezTo>
                <a:close/>
                <a:moveTo>
                  <a:pt x="286" y="332"/>
                </a:moveTo>
                <a:cubicBezTo>
                  <a:pt x="248" y="281"/>
                  <a:pt x="248" y="281"/>
                  <a:pt x="248" y="281"/>
                </a:cubicBezTo>
                <a:cubicBezTo>
                  <a:pt x="251" y="279"/>
                  <a:pt x="254" y="276"/>
                  <a:pt x="257" y="273"/>
                </a:cubicBezTo>
                <a:cubicBezTo>
                  <a:pt x="300" y="320"/>
                  <a:pt x="300" y="320"/>
                  <a:pt x="300" y="320"/>
                </a:cubicBezTo>
                <a:cubicBezTo>
                  <a:pt x="295" y="324"/>
                  <a:pt x="291" y="329"/>
                  <a:pt x="286" y="332"/>
                </a:cubicBezTo>
                <a:close/>
                <a:moveTo>
                  <a:pt x="322" y="295"/>
                </a:moveTo>
                <a:cubicBezTo>
                  <a:pt x="271" y="258"/>
                  <a:pt x="271" y="258"/>
                  <a:pt x="271" y="258"/>
                </a:cubicBezTo>
                <a:cubicBezTo>
                  <a:pt x="273" y="255"/>
                  <a:pt x="274" y="253"/>
                  <a:pt x="276" y="250"/>
                </a:cubicBezTo>
                <a:cubicBezTo>
                  <a:pt x="330" y="283"/>
                  <a:pt x="330" y="283"/>
                  <a:pt x="330" y="283"/>
                </a:cubicBezTo>
                <a:cubicBezTo>
                  <a:pt x="328" y="287"/>
                  <a:pt x="325" y="292"/>
                  <a:pt x="322" y="295"/>
                </a:cubicBezTo>
                <a:close/>
                <a:moveTo>
                  <a:pt x="346" y="250"/>
                </a:moveTo>
                <a:cubicBezTo>
                  <a:pt x="326" y="243"/>
                  <a:pt x="306" y="237"/>
                  <a:pt x="285" y="230"/>
                </a:cubicBezTo>
                <a:cubicBezTo>
                  <a:pt x="287" y="227"/>
                  <a:pt x="287" y="224"/>
                  <a:pt x="288" y="221"/>
                </a:cubicBezTo>
                <a:cubicBezTo>
                  <a:pt x="349" y="239"/>
                  <a:pt x="349" y="239"/>
                  <a:pt x="349" y="239"/>
                </a:cubicBezTo>
                <a:cubicBezTo>
                  <a:pt x="348" y="243"/>
                  <a:pt x="348" y="246"/>
                  <a:pt x="346" y="250"/>
                </a:cubicBezTo>
                <a:close/>
                <a:moveTo>
                  <a:pt x="355" y="199"/>
                </a:moveTo>
                <a:cubicBezTo>
                  <a:pt x="334" y="199"/>
                  <a:pt x="313" y="198"/>
                  <a:pt x="291" y="198"/>
                </a:cubicBezTo>
                <a:cubicBezTo>
                  <a:pt x="292" y="193"/>
                  <a:pt x="292" y="193"/>
                  <a:pt x="292" y="193"/>
                </a:cubicBezTo>
                <a:cubicBezTo>
                  <a:pt x="313" y="193"/>
                  <a:pt x="334" y="192"/>
                  <a:pt x="355" y="193"/>
                </a:cubicBezTo>
                <a:lnTo>
                  <a:pt x="355" y="19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39" tIns="45720" rIns="91439" bIns="45720" numCol="1" anchor="t" anchorCtr="0" compatLnSpc="1">
            <a:prstTxWarp prst="textNoShape">
              <a:avLst/>
            </a:prstTxWarp>
          </a:bodyPr>
          <a:lstStyle/>
          <a:p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A1101E7-4CFB-4067-95AE-A90E24CC4F90}"/>
              </a:ext>
            </a:extLst>
          </p:cNvPr>
          <p:cNvSpPr txBox="1"/>
          <p:nvPr/>
        </p:nvSpPr>
        <p:spPr>
          <a:xfrm>
            <a:off x="8331614" y="1400427"/>
            <a:ext cx="46968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1632179-26FB-4971-A2C6-F4D8CB16D629}"/>
              </a:ext>
            </a:extLst>
          </p:cNvPr>
          <p:cNvSpPr txBox="1">
            <a:spLocks/>
          </p:cNvSpPr>
          <p:nvPr/>
        </p:nvSpPr>
        <p:spPr>
          <a:xfrm>
            <a:off x="2402505" y="1400428"/>
            <a:ext cx="330683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itäte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2EB15B-BD09-4557-A289-13A0AEEA5006}"/>
              </a:ext>
            </a:extLst>
          </p:cNvPr>
          <p:cNvSpPr txBox="1">
            <a:spLocks/>
          </p:cNvSpPr>
          <p:nvPr/>
        </p:nvSpPr>
        <p:spPr>
          <a:xfrm>
            <a:off x="7410695" y="1369649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datum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76F849-805C-4547-B330-E74FE218EE7E}"/>
              </a:ext>
            </a:extLst>
          </p:cNvPr>
          <p:cNvSpPr txBox="1">
            <a:spLocks/>
          </p:cNvSpPr>
          <p:nvPr/>
        </p:nvSpPr>
        <p:spPr>
          <a:xfrm>
            <a:off x="487361" y="1400427"/>
            <a:ext cx="183275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men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FC2AD198-6809-4D7F-8B56-987729A9CB61}"/>
              </a:ext>
            </a:extLst>
          </p:cNvPr>
          <p:cNvSpPr txBox="1">
            <a:spLocks/>
          </p:cNvSpPr>
          <p:nvPr/>
        </p:nvSpPr>
        <p:spPr>
          <a:xfrm>
            <a:off x="487361" y="1646945"/>
            <a:ext cx="1832757" cy="93316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etzung des Umsetzungsteam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84A29B45-7115-48DF-A04F-750F2BE33EE4}"/>
              </a:ext>
            </a:extLst>
          </p:cNvPr>
          <p:cNvSpPr txBox="1">
            <a:spLocks/>
          </p:cNvSpPr>
          <p:nvPr/>
        </p:nvSpPr>
        <p:spPr>
          <a:xfrm>
            <a:off x="5837225" y="1400024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antwortlichkeit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69A30CD9-629B-4F4E-9858-83FAA0EBF124}"/>
              </a:ext>
            </a:extLst>
          </p:cNvPr>
          <p:cNvSpPr txBox="1">
            <a:spLocks/>
          </p:cNvSpPr>
          <p:nvPr/>
        </p:nvSpPr>
        <p:spPr>
          <a:xfrm>
            <a:off x="2402505" y="1646945"/>
            <a:ext cx="33068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Besetzung der Rolle des Leistungs-verantwortlichen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C1B9837-2997-4A74-9DCC-62387019BD9E}"/>
              </a:ext>
            </a:extLst>
          </p:cNvPr>
          <p:cNvSpPr txBox="1">
            <a:spLocks/>
          </p:cNvSpPr>
          <p:nvPr/>
        </p:nvSpPr>
        <p:spPr>
          <a:xfrm>
            <a:off x="7410695" y="1646945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10. Nov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4D7768FF-CE97-4431-8F8C-D59D10C0BB1D}"/>
              </a:ext>
            </a:extLst>
          </p:cNvPr>
          <p:cNvSpPr txBox="1">
            <a:spLocks/>
          </p:cNvSpPr>
          <p:nvPr/>
        </p:nvSpPr>
        <p:spPr>
          <a:xfrm>
            <a:off x="5837225" y="1646945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Hr. Mustermann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BFA9FADD-6932-433C-A7A2-6EDD2D9C66EA}"/>
              </a:ext>
            </a:extLst>
          </p:cNvPr>
          <p:cNvSpPr txBox="1">
            <a:spLocks/>
          </p:cNvSpPr>
          <p:nvPr/>
        </p:nvSpPr>
        <p:spPr>
          <a:xfrm>
            <a:off x="2402505" y="2149224"/>
            <a:ext cx="33068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Beschreibung der Rollen/Aufgabenverteilung innerhalb des Umsetzungsteams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916793E-B6FA-4BDB-BFE8-11E5E7FBFD18}"/>
              </a:ext>
            </a:extLst>
          </p:cNvPr>
          <p:cNvSpPr txBox="1">
            <a:spLocks/>
          </p:cNvSpPr>
          <p:nvPr/>
        </p:nvSpPr>
        <p:spPr>
          <a:xfrm>
            <a:off x="7410695" y="2149224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10. Nov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167BE3FF-863F-4C4C-BE30-8A76F16F2F8D}"/>
              </a:ext>
            </a:extLst>
          </p:cNvPr>
          <p:cNvSpPr txBox="1">
            <a:spLocks/>
          </p:cNvSpPr>
          <p:nvPr/>
        </p:nvSpPr>
        <p:spPr>
          <a:xfrm>
            <a:off x="5837225" y="2149224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Fr. Musterfrau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248B2A0-5ADB-4B59-88ED-3BE2ACF3B720}"/>
              </a:ext>
            </a:extLst>
          </p:cNvPr>
          <p:cNvSpPr txBox="1">
            <a:spLocks/>
          </p:cNvSpPr>
          <p:nvPr/>
        </p:nvSpPr>
        <p:spPr>
          <a:xfrm>
            <a:off x="2402505" y="2651503"/>
            <a:ext cx="330683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Durchführung der </a:t>
            </a:r>
            <a:r>
              <a:rPr lang="de-DE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-Analyse für „</a:t>
            </a:r>
            <a:r>
              <a:rPr lang="de-DE" sz="1200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erLeistung</a:t>
            </a:r>
            <a:r>
              <a:rPr lang="de-DE" sz="12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 mit der Fachseite 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sowie erster Nutzerinterviews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623DBC6D-7EEA-4358-8704-F5AE3287EF9C}"/>
              </a:ext>
            </a:extLst>
          </p:cNvPr>
          <p:cNvSpPr txBox="1">
            <a:spLocks/>
          </p:cNvSpPr>
          <p:nvPr/>
        </p:nvSpPr>
        <p:spPr>
          <a:xfrm>
            <a:off x="7410695" y="2651503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30. Nov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CC6CF60-7E92-42D4-AD01-805B0D74A276}"/>
              </a:ext>
            </a:extLst>
          </p:cNvPr>
          <p:cNvSpPr txBox="1">
            <a:spLocks/>
          </p:cNvSpPr>
          <p:nvPr/>
        </p:nvSpPr>
        <p:spPr>
          <a:xfrm>
            <a:off x="487361" y="2682281"/>
            <a:ext cx="1832757" cy="51475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chführung der IST-Analyse</a:t>
            </a: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1C2F49A5-21C4-426D-B29A-D56D718A5F15}"/>
              </a:ext>
            </a:extLst>
          </p:cNvPr>
          <p:cNvSpPr txBox="1">
            <a:spLocks/>
          </p:cNvSpPr>
          <p:nvPr/>
        </p:nvSpPr>
        <p:spPr>
          <a:xfrm>
            <a:off x="5837225" y="2651503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Hr. Musterman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28FEC71-B96D-4D71-B2E8-FD38EDBA0911}"/>
              </a:ext>
            </a:extLst>
          </p:cNvPr>
          <p:cNvSpPr txBox="1">
            <a:spLocks/>
          </p:cNvSpPr>
          <p:nvPr/>
        </p:nvSpPr>
        <p:spPr>
          <a:xfrm>
            <a:off x="2402505" y="3299207"/>
            <a:ext cx="330683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Prüfung einer potentiellen Verschiebung der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OZG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-Leistung "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MusterLeistung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"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A35017A-BA9A-4C54-8617-0B0A9A6CEA6D}"/>
              </a:ext>
            </a:extLst>
          </p:cNvPr>
          <p:cNvSpPr txBox="1">
            <a:spLocks/>
          </p:cNvSpPr>
          <p:nvPr/>
        </p:nvSpPr>
        <p:spPr>
          <a:xfrm>
            <a:off x="7410695" y="3299207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5. Okt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C6E66B5F-3EAB-467E-8AC5-017335AD23D7}"/>
              </a:ext>
            </a:extLst>
          </p:cNvPr>
          <p:cNvSpPr txBox="1">
            <a:spLocks/>
          </p:cNvSpPr>
          <p:nvPr/>
        </p:nvSpPr>
        <p:spPr>
          <a:xfrm>
            <a:off x="487361" y="3329985"/>
            <a:ext cx="1832757" cy="514756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chiebung einer bestehenden Leistung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F59F58C0-EBFA-4CFE-83EA-4C8A6D9BD9E9}"/>
              </a:ext>
            </a:extLst>
          </p:cNvPr>
          <p:cNvSpPr txBox="1">
            <a:spLocks/>
          </p:cNvSpPr>
          <p:nvPr/>
        </p:nvSpPr>
        <p:spPr>
          <a:xfrm>
            <a:off x="5837225" y="3299207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Hr. Musterman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35F3FE7-20FC-4D53-BAA7-305689720F7F}"/>
              </a:ext>
            </a:extLst>
          </p:cNvPr>
          <p:cNvSpPr txBox="1">
            <a:spLocks/>
          </p:cNvSpPr>
          <p:nvPr/>
        </p:nvSpPr>
        <p:spPr>
          <a:xfrm>
            <a:off x="2402505" y="3946911"/>
            <a:ext cx="3184075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Austausch mit dem Themenfeld XX und Prüfung einer möglichen Zusammenarbeit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F32CC92-CA4E-46C6-AC6F-8BF2E4D0510C}"/>
              </a:ext>
            </a:extLst>
          </p:cNvPr>
          <p:cNvSpPr txBox="1">
            <a:spLocks/>
          </p:cNvSpPr>
          <p:nvPr/>
        </p:nvSpPr>
        <p:spPr>
          <a:xfrm>
            <a:off x="7410695" y="3946911"/>
            <a:ext cx="79303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5. Okt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73A4344E-0478-4EB6-ADCC-913895F86992}"/>
              </a:ext>
            </a:extLst>
          </p:cNvPr>
          <p:cNvSpPr txBox="1">
            <a:spLocks/>
          </p:cNvSpPr>
          <p:nvPr/>
        </p:nvSpPr>
        <p:spPr>
          <a:xfrm>
            <a:off x="487361" y="3946911"/>
            <a:ext cx="1832757" cy="646331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aktaufnahme zum Themenfeld XX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27446A7-7698-4EB0-851E-6B1F1D39780B}"/>
              </a:ext>
            </a:extLst>
          </p:cNvPr>
          <p:cNvSpPr txBox="1">
            <a:spLocks/>
          </p:cNvSpPr>
          <p:nvPr/>
        </p:nvSpPr>
        <p:spPr>
          <a:xfrm>
            <a:off x="5837225" y="3946911"/>
            <a:ext cx="144558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671496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000" lvl="1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2pPr>
            <a:lvl3pPr marL="360000" lvl="2" indent="-180000" defTabSz="671496" eaLnBrk="1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sz="1600" baseline="0">
                <a:latin typeface="+mn-lt"/>
              </a:defRPr>
            </a:lvl3pPr>
            <a:lvl4pPr marL="540000" lvl="3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sz="1600" baseline="0">
                <a:latin typeface="+mn-lt"/>
              </a:defRPr>
            </a:lvl4pPr>
            <a:lvl5pPr marL="720000" lvl="4" indent="-180000" defTabSz="671496" eaLnBrk="1" hangingPunct="1">
              <a:buClr>
                <a:schemeClr val="tx2"/>
              </a:buClr>
              <a:buSzPct val="100000"/>
              <a:buFont typeface="Calibri" panose="020F0502020204030204" pitchFamily="34" charset="0"/>
              <a:buChar char="»"/>
              <a:defRPr sz="1600" baseline="0">
                <a:latin typeface="+mn-lt"/>
              </a:defRPr>
            </a:lvl5pPr>
            <a:lvl6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6pPr>
            <a:lvl7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7pPr>
            <a:lvl8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8pPr>
            <a:lvl9pPr marL="562342" indent="-97628" defTabSz="67149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9pPr>
          </a:lstStyle>
          <a:p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Fr. Musterfrau</a:t>
            </a:r>
          </a:p>
        </p:txBody>
      </p:sp>
      <p:grpSp>
        <p:nvGrpSpPr>
          <p:cNvPr id="57" name="sticker">
            <a:extLst>
              <a:ext uri="{FF2B5EF4-FFF2-40B4-BE49-F238E27FC236}">
                <a16:creationId xmlns:a16="http://schemas.microsoft.com/office/drawing/2014/main" id="{CE16D5DD-3937-44DE-9D7E-2E924136BE5A}"/>
              </a:ext>
            </a:extLst>
          </p:cNvPr>
          <p:cNvGrpSpPr/>
          <p:nvPr/>
        </p:nvGrpSpPr>
        <p:grpSpPr>
          <a:xfrm>
            <a:off x="8187537" y="694486"/>
            <a:ext cx="628377" cy="226058"/>
            <a:chOff x="8182508" y="713536"/>
            <a:chExt cx="628377" cy="226058"/>
          </a:xfrm>
        </p:grpSpPr>
        <p:sp>
          <p:nvSpPr>
            <p:cNvPr id="58" name="StickerRectangle">
              <a:extLst>
                <a:ext uri="{FF2B5EF4-FFF2-40B4-BE49-F238E27FC236}">
                  <a16:creationId xmlns:a16="http://schemas.microsoft.com/office/drawing/2014/main" id="{221FB7E1-E7D8-4DA9-924C-48A9318CBF3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82508" y="713536"/>
              <a:ext cx="628377" cy="22605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28800" rIns="0" bIns="27432" anchor="ctr" anchorCtr="0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de-DE" sz="110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EISPIEL</a:t>
              </a:r>
              <a:endParaRPr lang="de-DE" sz="1100" noProof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60" name="AutoShape 32">
              <a:extLst>
                <a:ext uri="{FF2B5EF4-FFF2-40B4-BE49-F238E27FC236}">
                  <a16:creationId xmlns:a16="http://schemas.microsoft.com/office/drawing/2014/main" id="{09A2D4DB-2055-49C6-8915-E2867412588D}"/>
                </a:ext>
              </a:extLst>
            </p:cNvPr>
            <p:cNvCxnSpPr>
              <a:cxnSpLocks noChangeShapeType="1"/>
              <a:stCxn id="58" idx="4"/>
              <a:endCxn id="58" idx="6"/>
            </p:cNvCxnSpPr>
            <p:nvPr/>
          </p:nvCxnSpPr>
          <p:spPr bwMode="gray">
            <a:xfrm>
              <a:off x="8182508" y="939594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" name="AutoShape 32">
              <a:extLst>
                <a:ext uri="{FF2B5EF4-FFF2-40B4-BE49-F238E27FC236}">
                  <a16:creationId xmlns:a16="http://schemas.microsoft.com/office/drawing/2014/main" id="{5DD0FBD5-8925-42DF-BABF-E80616C9654A}"/>
                </a:ext>
              </a:extLst>
            </p:cNvPr>
            <p:cNvCxnSpPr>
              <a:cxnSpLocks noChangeShapeType="1"/>
              <a:stCxn id="58" idx="2"/>
              <a:endCxn id="58" idx="0"/>
            </p:cNvCxnSpPr>
            <p:nvPr userDrawn="1"/>
          </p:nvCxnSpPr>
          <p:spPr bwMode="gray">
            <a:xfrm>
              <a:off x="8182508" y="713536"/>
              <a:ext cx="628377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93525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Anneke Maxi Pethoe-S\Box Sync\Digitalisierungsprogramm OZG\1 Working docs\7 Themenfelder\08_Umwelt\01_Meetings &amp; Versand\20190213 Steuerungskreis 2\20190213_TF Umwelt_Steuerungskreis 2_vsent.pptx"/>
  <p:tag name="THINKCELLPRESENTATIONDONOTDELETE" val="&lt;?xml version=&quot;1.0&quot; encoding=&quot;UTF-16&quot; standalone=&quot;yes&quot;?&gt;&lt;root reqver=&quot;25060&quot;&gt;&lt;version val=&quot;2785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7.20001740034875403751E+00&quot;&gt;&lt;m_msothmcolidx val=&quot;0&quot;/&gt;&lt;m_rgb r=&quot;E5&quot; g=&quot;E5&quot; b=&quot;E5&quot;/&gt;&lt;m_nBrightness endver=&quot;26206&quot; val=&quot;0&quot;/&gt;&lt;/elem&gt;&lt;elem m_fUsage=&quot;1.89999999999999991118E+00&quot;&gt;&lt;m_msothmcolidx val=&quot;0&quot;/&gt;&lt;m_rgb r=&quot;BF&quot; g=&quot;BF&quot; b=&quot;BF&quot;/&gt;&lt;m_nBrightness endver=&quot;26206&quot; val=&quot;0&quot;/&gt;&lt;/elem&gt;&lt;elem m_fUsage=&quot;2.54186582832900132001E-01&quot;&gt;&lt;m_msothmcolidx val=&quot;0&quot;/&gt;&lt;m_rgb r=&quot;00&quot; g=&quot;45&quot; b=&quot;84&quot;/&gt;&lt;m_nBrightness endver=&quot;26206&quot; val=&quot;0&quot;/&gt;&lt;/elem&gt;&lt;elem m_fUsage=&quot;2.21884434066184493828E-01&quot;&gt;&lt;m_msothmcolidx val=&quot;0&quot;/&gt;&lt;m_rgb r=&quot;FF&quot; g=&quot;FF&quot; b=&quot;FF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8730575288f26b146580d285c8794c0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UbQ8ypSZK1rjhvBhxK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bc7fbd0cdf076b8a894ccaf730fcd7df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3WObncSNOiSSNENVPeX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d19917d26c117c09c8de3dc21aa68c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nceIixK_y8IbHX2WX9c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8"/>
  <p:tag name="2LEVEL" val="4"/>
  <p:tag name="3LEVEL" val="2"/>
  <p:tag name="4LEVEL" val="1"/>
  <p:tag name="5LEVEL" val="0.5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e6991516a1e68749598d8d86b9986a7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66"/>
  <p:tag name="ORIGTOP" val="261.6824"/>
  <p:tag name="ORIGHEIGHT" val="28.56024"/>
  <p:tag name="ORIGWIDTH" val="21.69157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e6991516a1e68749598d8d86b9986a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ff269bb22d670d4c249663338080bdb0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uSMLkMNg4OWGNSvGIDa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bc7fbd0cdf076b8a894ccaf730fcd7df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3WObncSNOiSSNENVPeX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bd0e318cb77d43373d9861cd312c26ef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01465273c26d13f191ece12ea19a185c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Wg9NkTcD.4ZY1e7Wt3b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85d4e591299b392e63a34fe7be29af48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900d41eda476e20238f9af29d1c202c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dkPqyQluqCkZFcyS9W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92c07c64d2d9b756135f6aa0750226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b9c110583405a5fbf046b6421cb8fa08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OMKHSBQ_4uD49SKzwbi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92c07c64d2d9b756135f6aa0750226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01465273c26d13f191ece12ea19a185c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Wg9NkTcD.4ZY1e7Wt3b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66"/>
  <p:tag name="ORIGTOP" val="261.6824"/>
  <p:tag name="ORIGHEIGHT" val="28.56024"/>
  <p:tag name="ORIGWIDTH" val="21.69157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41357588284ea7143ec3210115966bf7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My4wM3pFNvd1wUV8Qe7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bc7fbd0cdf076b8a894ccaf730fcd7df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3WObncSNOiSSNENVPeX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bd0e318cb77d43373d9861cd312c26ef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01465273c26d13f191ece12ea19a185c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Wg9NkTcD.4ZY1e7Wt3b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7I09Lel_EqJXDr_ZyHhN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85d4e591299b392e63a34fe7be29af48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900d41eda476e20238f9af29d1c202c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sdkPqyQluqCkZFcyS9W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ody1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92c07c64d2d9b756135f6aa07502268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b9c110583405a5fbf046b6421cb8fa08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OMKHSBQ_4uD49SKzwbi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92c07c64d2d9b756135f6aa07502268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01465273c26d13f191ece12ea19a185c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Wg9NkTcD.4ZY1e7Wt3b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66"/>
  <p:tag name="ORIGTOP" val="261.6824"/>
  <p:tag name="ORIGHEIGHT" val="28.56024"/>
  <p:tag name="ORIGWIDTH" val="21.69157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192c07c64d2d9b756135f6aa07502268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xne3jFe8AkXJIzeA_vd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P_MARVIN_VG_TB_SLIDE_IDENTIFIER" val="41357588284ea7143ec3210115966bf7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My4wM3pFNvd1wUV8Qe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heme/theme1.xml><?xml version="1.0" encoding="utf-8"?>
<a:theme xmlns:a="http://schemas.openxmlformats.org/drawingml/2006/main" name="DE_BE1154_16x9_CF3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CB45A"/>
      </a:accent1>
      <a:accent2>
        <a:srgbClr val="72BFC5"/>
      </a:accent2>
      <a:accent3>
        <a:srgbClr val="55B478"/>
      </a:accent3>
      <a:accent4>
        <a:srgbClr val="337299"/>
      </a:accent4>
      <a:accent5>
        <a:srgbClr val="506E78"/>
      </a:accent5>
      <a:accent6>
        <a:srgbClr val="808080"/>
      </a:accent6>
      <a:hlink>
        <a:srgbClr val="506E78"/>
      </a:hlink>
      <a:folHlink>
        <a:srgbClr val="506E78"/>
      </a:folHlink>
    </a:clrScheme>
    <a:fontScheme name="Custom 9">
      <a:majorFont>
        <a:latin typeface="BundesSerif Office"/>
        <a:ea typeface="ＭＳ Ｐゴシック"/>
        <a:cs typeface=""/>
      </a:majorFont>
      <a:minorFont>
        <a:latin typeface="BundesSans Regular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B45A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CB45A"/>
        </a:accent1>
        <a:accent2>
          <a:srgbClr val="72BFC5"/>
        </a:accent2>
        <a:accent3>
          <a:srgbClr val="55B478"/>
        </a:accent3>
        <a:accent4>
          <a:srgbClr val="337299"/>
        </a:accent4>
        <a:accent5>
          <a:srgbClr val="506E78"/>
        </a:accent5>
        <a:accent6>
          <a:srgbClr val="808080"/>
        </a:accent6>
        <a:hlink>
          <a:srgbClr val="337299"/>
        </a:hlink>
        <a:folHlink>
          <a:srgbClr val="506E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996633"/>
    </a:custClr>
    <a:custClr name="Custom Color 2">
      <a:srgbClr val="D24150"/>
    </a:custClr>
    <a:custClr name="Custom Color 3">
      <a:srgbClr val="004F80"/>
    </a:custClr>
    <a:custClr name="Custom Color 4">
      <a:srgbClr val="A8A8B9"/>
    </a:custClr>
    <a:custClr name="Custom Color 5">
      <a:srgbClr val="61A4D4"/>
    </a:custClr>
    <a:custClr name="Custom Color 6">
      <a:srgbClr val="BBE0E3"/>
    </a:custClr>
    <a:custClr name="Custom Color 7">
      <a:srgbClr val="333399"/>
    </a:custClr>
    <a:custClr name="Custom Color 8">
      <a:srgbClr val="DAEDEF"/>
    </a:custClr>
    <a:custClr name="Custom Color 9">
      <a:srgbClr val="2D2D8A"/>
    </a:custClr>
  </a:custClrLst>
  <a:extLst>
    <a:ext uri="{05A4C25C-085E-4340-85A3-A5531E510DB2}">
      <thm15:themeFamily xmlns:thm15="http://schemas.microsoft.com/office/thememl/2012/main" name="DE_BE1154_16x9_CF3.potx [Read-Only]" id="{13CEBAD3-9DD9-40C7-9904-FEC1EAD80033}" vid="{F2430F8C-F11F-4308-94A9-722AC0B6B02E}"/>
    </a:ext>
  </a:extLst>
</a:theme>
</file>

<file path=ppt/theme/theme2.xml><?xml version="1.0" encoding="utf-8"?>
<a:theme xmlns:a="http://schemas.openxmlformats.org/drawingml/2006/main" name="4_DE_BE1154_16x9_CF3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CB45A"/>
      </a:accent1>
      <a:accent2>
        <a:srgbClr val="72BFC5"/>
      </a:accent2>
      <a:accent3>
        <a:srgbClr val="55B478"/>
      </a:accent3>
      <a:accent4>
        <a:srgbClr val="337299"/>
      </a:accent4>
      <a:accent5>
        <a:srgbClr val="506E78"/>
      </a:accent5>
      <a:accent6>
        <a:srgbClr val="808080"/>
      </a:accent6>
      <a:hlink>
        <a:srgbClr val="506E78"/>
      </a:hlink>
      <a:folHlink>
        <a:srgbClr val="506E78"/>
      </a:folHlink>
    </a:clrScheme>
    <a:fontScheme name="Custom 9">
      <a:majorFont>
        <a:latin typeface="BundesSerif Office"/>
        <a:ea typeface="ＭＳ Ｐゴシック"/>
        <a:cs typeface=""/>
      </a:majorFont>
      <a:minorFont>
        <a:latin typeface="BundesSans Regular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B45A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CB45A"/>
        </a:accent1>
        <a:accent2>
          <a:srgbClr val="72BFC5"/>
        </a:accent2>
        <a:accent3>
          <a:srgbClr val="55B478"/>
        </a:accent3>
        <a:accent4>
          <a:srgbClr val="337299"/>
        </a:accent4>
        <a:accent5>
          <a:srgbClr val="506E78"/>
        </a:accent5>
        <a:accent6>
          <a:srgbClr val="808080"/>
        </a:accent6>
        <a:hlink>
          <a:srgbClr val="337299"/>
        </a:hlink>
        <a:folHlink>
          <a:srgbClr val="506E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996633"/>
    </a:custClr>
    <a:custClr name="Custom Color 2">
      <a:srgbClr val="D24150"/>
    </a:custClr>
    <a:custClr name="Custom Color 3">
      <a:srgbClr val="004F80"/>
    </a:custClr>
    <a:custClr name="Custom Color 4">
      <a:srgbClr val="A8A8B9"/>
    </a:custClr>
    <a:custClr name="Custom Color 5">
      <a:srgbClr val="61A4D4"/>
    </a:custClr>
    <a:custClr name="Custom Color 6">
      <a:srgbClr val="BBE0E3"/>
    </a:custClr>
    <a:custClr name="Custom Color 7">
      <a:srgbClr val="333399"/>
    </a:custClr>
    <a:custClr name="Custom Color 8">
      <a:srgbClr val="DAEDEF"/>
    </a:custClr>
    <a:custClr name="Custom Color 9">
      <a:srgbClr val="2D2D8A"/>
    </a:custClr>
  </a:custClrLst>
  <a:extLst>
    <a:ext uri="{05A4C25C-085E-4340-85A3-A5531E510DB2}">
      <thm15:themeFamily xmlns:thm15="http://schemas.microsoft.com/office/thememl/2012/main" name="DE_BE1154_16x9_CF3.potx [Read-Only]" id="{13CEBAD3-9DD9-40C7-9904-FEC1EAD80033}" vid="{F2430F8C-F11F-4308-94A9-722AC0B6B02E}"/>
    </a:ext>
  </a:extLst>
</a:theme>
</file>

<file path=ppt/theme/theme3.xml><?xml version="1.0" encoding="utf-8"?>
<a:theme xmlns:a="http://schemas.openxmlformats.org/drawingml/2006/main" name="9_DE_BE1154_16x9_CF3">
  <a:themeElements>
    <a:clrScheme name="Custom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DCB45A"/>
      </a:accent1>
      <a:accent2>
        <a:srgbClr val="72BFC5"/>
      </a:accent2>
      <a:accent3>
        <a:srgbClr val="55B478"/>
      </a:accent3>
      <a:accent4>
        <a:srgbClr val="337299"/>
      </a:accent4>
      <a:accent5>
        <a:srgbClr val="506E78"/>
      </a:accent5>
      <a:accent6>
        <a:srgbClr val="808080"/>
      </a:accent6>
      <a:hlink>
        <a:srgbClr val="506E78"/>
      </a:hlink>
      <a:folHlink>
        <a:srgbClr val="506E78"/>
      </a:folHlink>
    </a:clrScheme>
    <a:fontScheme name="Custom 9">
      <a:majorFont>
        <a:latin typeface="BundesSerif Office"/>
        <a:ea typeface="ＭＳ Ｐゴシック"/>
        <a:cs typeface=""/>
      </a:majorFont>
      <a:minorFont>
        <a:latin typeface="BundesSans Regular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CB45A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CB45A"/>
        </a:accent1>
        <a:accent2>
          <a:srgbClr val="72BFC5"/>
        </a:accent2>
        <a:accent3>
          <a:srgbClr val="55B478"/>
        </a:accent3>
        <a:accent4>
          <a:srgbClr val="337299"/>
        </a:accent4>
        <a:accent5>
          <a:srgbClr val="506E78"/>
        </a:accent5>
        <a:accent6>
          <a:srgbClr val="808080"/>
        </a:accent6>
        <a:hlink>
          <a:srgbClr val="337299"/>
        </a:hlink>
        <a:folHlink>
          <a:srgbClr val="506E7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ustom Color 1">
      <a:srgbClr val="996633"/>
    </a:custClr>
    <a:custClr name="Custom Color 2">
      <a:srgbClr val="D24150"/>
    </a:custClr>
    <a:custClr name="Custom Color 3">
      <a:srgbClr val="004F80"/>
    </a:custClr>
    <a:custClr name="Custom Color 4">
      <a:srgbClr val="A8A8B9"/>
    </a:custClr>
    <a:custClr name="Custom Color 5">
      <a:srgbClr val="61A4D4"/>
    </a:custClr>
    <a:custClr name="Custom Color 6">
      <a:srgbClr val="BBE0E3"/>
    </a:custClr>
    <a:custClr name="Custom Color 7">
      <a:srgbClr val="333399"/>
    </a:custClr>
    <a:custClr name="Custom Color 8">
      <a:srgbClr val="DAEDEF"/>
    </a:custClr>
    <a:custClr name="Custom Color 9">
      <a:srgbClr val="2D2D8A"/>
    </a:custClr>
  </a:custClrLst>
  <a:extLst>
    <a:ext uri="{05A4C25C-085E-4340-85A3-A5531E510DB2}">
      <thm15:themeFamily xmlns:thm15="http://schemas.microsoft.com/office/thememl/2012/main" name="DE_BE1154_16x9_CF3.potx [Read-Only]" id="{13CEBAD3-9DD9-40C7-9904-FEC1EAD80033}" vid="{F2430F8C-F11F-4308-94A9-722AC0B6B02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8C8546A4AF1F724D91228A90C30352C2" ma:contentTypeVersion="3" ma:contentTypeDescription="Ein neues Dokument erstellen." ma:contentTypeScope="" ma:versionID="02ea261bf1a3ca7ede0e68f3be0e40f5">
  <xsd:schema xmlns:xsd="http://www.w3.org/2001/XMLSchema" xmlns:xs="http://www.w3.org/2001/XMLSchema" xmlns:p="http://schemas.microsoft.com/office/2006/metadata/properties" xmlns:ns2="09f97250-d555-4864-ab89-5348b200635b" targetNamespace="http://schemas.microsoft.com/office/2006/metadata/properties" ma:root="true" ma:fieldsID="cb3ffed867d1c2f3db50b66530aac66f" ns2:_="">
    <xsd:import namespace="09f97250-d555-4864-ab89-5348b200635b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f97250-d555-4864-ab89-5348b200635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1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09f97250-d555-4864-ab89-5348b200635b">7H4U3DPS5V2F-1806042254-492</_dlc_DocId>
    <_dlc_DocIdUrl xmlns="09f97250-d555-4864-ab89-5348b200635b">
      <Url>https://portal.init.de/project/OZG_Grundlagen_Tools/_layouts/15/DocIdRedir.aspx?ID=7H4U3DPS5V2F-1806042254-492</Url>
      <Description>7H4U3DPS5V2F-1806042254-492</Description>
    </_dlc_DocIdUrl>
  </documentManagement>
</p:properties>
</file>

<file path=customXml/itemProps1.xml><?xml version="1.0" encoding="utf-8"?>
<ds:datastoreItem xmlns:ds="http://schemas.openxmlformats.org/officeDocument/2006/customXml" ds:itemID="{F55A1B63-E522-44B0-8C91-C8266D31DB49}"/>
</file>

<file path=customXml/itemProps2.xml><?xml version="1.0" encoding="utf-8"?>
<ds:datastoreItem xmlns:ds="http://schemas.openxmlformats.org/officeDocument/2006/customXml" ds:itemID="{7D3A9181-177D-416A-906C-6DA36436280A}"/>
</file>

<file path=customXml/itemProps3.xml><?xml version="1.0" encoding="utf-8"?>
<ds:datastoreItem xmlns:ds="http://schemas.openxmlformats.org/officeDocument/2006/customXml" ds:itemID="{3C5E5C5F-4C2C-42C7-B7AC-8B5B3E2D1376}"/>
</file>

<file path=customXml/itemProps4.xml><?xml version="1.0" encoding="utf-8"?>
<ds:datastoreItem xmlns:ds="http://schemas.openxmlformats.org/officeDocument/2006/customXml" ds:itemID="{67307997-37EB-40D2-9FD8-32CCE0D267D6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807</Words>
  <Application>Microsoft Office PowerPoint</Application>
  <PresentationFormat>Bildschirmpräsentation (16:9)</PresentationFormat>
  <Paragraphs>436</Paragraphs>
  <Slides>27</Slides>
  <Notes>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7</vt:i4>
      </vt:variant>
    </vt:vector>
  </HeadingPairs>
  <TitlesOfParts>
    <vt:vector size="36" baseType="lpstr">
      <vt:lpstr>Arial</vt:lpstr>
      <vt:lpstr>BundesSans Regular</vt:lpstr>
      <vt:lpstr>BundesSerif Office</vt:lpstr>
      <vt:lpstr>Calibri</vt:lpstr>
      <vt:lpstr>Symbol</vt:lpstr>
      <vt:lpstr>DE_BE1154_16x9_CF3</vt:lpstr>
      <vt:lpstr>4_DE_BE1154_16x9_CF3</vt:lpstr>
      <vt:lpstr>9_DE_BE1154_16x9_CF3</vt:lpstr>
      <vt:lpstr>think-cell Slide</vt:lpstr>
      <vt:lpstr>Vorlage für die Durchführung eines Steuerungskreises</vt:lpstr>
      <vt:lpstr>Vorlage Steuerungskreis</vt:lpstr>
      <vt:lpstr>Zielsetzung der Unterlage</vt:lpstr>
      <vt:lpstr>Ein Steuerungskreis gewährleistet einen engen Austausch und Zusammenarbeit innerhalb der OZG-Umsetzung</vt:lpstr>
      <vt:lpstr>Der Steuerungskreis wird durch das Umsetzungsteam organisiert und vorbereitet</vt:lpstr>
      <vt:lpstr>Der Steuerungskreis kann beispielsweise aus sechs Bausteinen bestehen </vt:lpstr>
      <vt:lpstr>Vorlage Steuerungskreis</vt:lpstr>
      <vt:lpstr>Zielsetzung des Steuerungskreises am 28.09.</vt:lpstr>
      <vt:lpstr>Beschreibung der aktuellen Projektaktivitäten– Stand der OZG-Umsetzung</vt:lpstr>
      <vt:lpstr>Agenda Steuerungskreis am 28.09.</vt:lpstr>
      <vt:lpstr>Darstellung der inhaltlichen Umsetzung</vt:lpstr>
      <vt:lpstr>Agenda Steuerungskreis am 28.09.</vt:lpstr>
      <vt:lpstr>Entscheidungsbedarfe</vt:lpstr>
      <vt:lpstr>Agenda Steuerungskreis am 28.09.</vt:lpstr>
      <vt:lpstr>Adressierung von Unterstützungsbedarfen</vt:lpstr>
      <vt:lpstr>Festlegung der nächsten Schritte</vt:lpstr>
      <vt:lpstr>Vorlage Steuerungskreis</vt:lpstr>
      <vt:lpstr>Zielsetzung des Steuerungskreises am XX.XX.</vt:lpstr>
      <vt:lpstr>Beschreibung der aktuellen Projektaktivitäten– Stand der OZG-Umsetzung</vt:lpstr>
      <vt:lpstr>Agenda Steuerungskreis am XX.XX.</vt:lpstr>
      <vt:lpstr>Darstellung der inhaltlichen Umsetzung</vt:lpstr>
      <vt:lpstr>Agenda Steuerungskreis am XX.XX.</vt:lpstr>
      <vt:lpstr>Entscheidungsbedarfe</vt:lpstr>
      <vt:lpstr>Agenda Steuerungskreis am XX.XX.</vt:lpstr>
      <vt:lpstr>Adressierung von Unterstützungsbedarfen</vt:lpstr>
      <vt:lpstr>Agenda Steuerungskreis am XX.XX.</vt:lpstr>
      <vt:lpstr>Festlegung der nächsten Schrit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02-07T09:33:48Z</dcterms:created>
  <dcterms:modified xsi:type="dcterms:W3CDTF">2023-02-07T09:3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C8546A4AF1F724D91228A90C30352C2</vt:lpwstr>
  </property>
  <property fmtid="{D5CDD505-2E9C-101B-9397-08002B2CF9AE}" pid="3" name="_dlc_DocIdItemGuid">
    <vt:lpwstr>79564496-7923-4f53-a2de-51f5068eaf16</vt:lpwstr>
  </property>
</Properties>
</file>